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 id="2147483674" r:id="rId5"/>
    <p:sldMasterId id="2147483682" r:id="rId6"/>
    <p:sldMasterId id="2147483691" r:id="rId7"/>
    <p:sldMasterId id="2147483700" r:id="rId8"/>
    <p:sldMasterId id="2147483709" r:id="rId9"/>
    <p:sldMasterId id="2147483718" r:id="rId10"/>
    <p:sldMasterId id="2147483727" r:id="rId11"/>
    <p:sldMasterId id="2147483736" r:id="rId12"/>
    <p:sldMasterId id="2147483745" r:id="rId13"/>
  </p:sldMasterIdLst>
  <p:notesMasterIdLst>
    <p:notesMasterId r:id="rId37"/>
  </p:notesMasterIdLst>
  <p:handoutMasterIdLst>
    <p:handoutMasterId r:id="rId38"/>
  </p:handoutMasterIdLst>
  <p:sldIdLst>
    <p:sldId id="256" r:id="rId14"/>
    <p:sldId id="1609" r:id="rId15"/>
    <p:sldId id="1518" r:id="rId16"/>
    <p:sldId id="1863" r:id="rId17"/>
    <p:sldId id="1848" r:id="rId18"/>
    <p:sldId id="1849" r:id="rId19"/>
    <p:sldId id="1850" r:id="rId20"/>
    <p:sldId id="1851" r:id="rId21"/>
    <p:sldId id="1852" r:id="rId22"/>
    <p:sldId id="1853" r:id="rId23"/>
    <p:sldId id="2426" r:id="rId24"/>
    <p:sldId id="1854" r:id="rId25"/>
    <p:sldId id="1855" r:id="rId26"/>
    <p:sldId id="2428" r:id="rId27"/>
    <p:sldId id="2427" r:id="rId28"/>
    <p:sldId id="1856" r:id="rId29"/>
    <p:sldId id="1857" r:id="rId30"/>
    <p:sldId id="1858" r:id="rId31"/>
    <p:sldId id="1859" r:id="rId32"/>
    <p:sldId id="1860" r:id="rId33"/>
    <p:sldId id="1861" r:id="rId34"/>
    <p:sldId id="1598" r:id="rId35"/>
    <p:sldId id="2149"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3" userDrawn="1">
          <p15:clr>
            <a:srgbClr val="A4A3A4"/>
          </p15:clr>
        </p15:guide>
        <p15:guide id="2" orient="horz" pos="6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Megan Platt" initial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0000"/>
    <a:srgbClr val="EBF6DE"/>
    <a:srgbClr val="D3EFCE"/>
    <a:srgbClr val="E5F4D4"/>
    <a:srgbClr val="3075FF"/>
    <a:srgbClr val="002060"/>
    <a:srgbClr val="9BEB99"/>
    <a:srgbClr val="ADAFBB"/>
    <a:srgbClr val="A3A5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3A02D9-65FD-4AC4-BE4C-AB7977F3327F}" v="2" dt="2023-01-30T05:30:53.4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13" autoAdjust="0"/>
    <p:restoredTop sz="93840" autoAdjust="0"/>
  </p:normalViewPr>
  <p:slideViewPr>
    <p:cSldViewPr snapToGrid="0">
      <p:cViewPr varScale="1">
        <p:scale>
          <a:sx n="60" d="100"/>
          <a:sy n="60" d="100"/>
        </p:scale>
        <p:origin x="1144" y="44"/>
      </p:cViewPr>
      <p:guideLst>
        <p:guide pos="393"/>
        <p:guide orient="horz" pos="6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5512"/>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gs" Target="tags/tag1.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handoutMaster" Target="handoutMasters/handoutMaster1.xml"/><Relationship Id="rId46" Type="http://schemas.microsoft.com/office/2015/10/relationships/revisionInfo" Target="revisionInfo.xml"/><Relationship Id="rId20" Type="http://schemas.openxmlformats.org/officeDocument/2006/relationships/slide" Target="slides/slide7.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FD7C8263-D63F-4C0C-8E7C-87461E06B06F}"/>
    <pc:docChg chg="addSld delSld modSld">
      <pc:chgData name="Aurelien Domont" userId="6da7715ce44349b3" providerId="LiveId" clId="{FD7C8263-D63F-4C0C-8E7C-87461E06B06F}" dt="2022-02-16T05:15:35.150" v="1"/>
      <pc:docMkLst>
        <pc:docMk/>
      </pc:docMkLst>
      <pc:sldChg chg="add del">
        <pc:chgData name="Aurelien Domont" userId="6da7715ce44349b3" providerId="LiveId" clId="{FD7C8263-D63F-4C0C-8E7C-87461E06B06F}" dt="2022-02-16T05:15:35.150" v="1"/>
        <pc:sldMkLst>
          <pc:docMk/>
          <pc:sldMk cId="1754585881" sldId="1598"/>
        </pc:sldMkLst>
      </pc:sldChg>
      <pc:sldChg chg="add del">
        <pc:chgData name="Aurelien Domont" userId="6da7715ce44349b3" providerId="LiveId" clId="{FD7C8263-D63F-4C0C-8E7C-87461E06B06F}" dt="2022-02-16T05:15:35.150" v="1"/>
        <pc:sldMkLst>
          <pc:docMk/>
          <pc:sldMk cId="2853806433" sldId="1600"/>
        </pc:sldMkLst>
      </pc:sldChg>
      <pc:sldChg chg="add del">
        <pc:chgData name="Aurelien Domont" userId="6da7715ce44349b3" providerId="LiveId" clId="{FD7C8263-D63F-4C0C-8E7C-87461E06B06F}" dt="2022-02-16T05:15:35.150" v="1"/>
        <pc:sldMkLst>
          <pc:docMk/>
          <pc:sldMk cId="1252826214" sldId="1711"/>
        </pc:sldMkLst>
      </pc:sldChg>
      <pc:sldChg chg="add del">
        <pc:chgData name="Aurelien Domont" userId="6da7715ce44349b3" providerId="LiveId" clId="{FD7C8263-D63F-4C0C-8E7C-87461E06B06F}" dt="2022-02-16T05:15:35.150" v="1"/>
        <pc:sldMkLst>
          <pc:docMk/>
          <pc:sldMk cId="3938337455" sldId="2034"/>
        </pc:sldMkLst>
      </pc:sldChg>
      <pc:sldChg chg="add del">
        <pc:chgData name="Aurelien Domont" userId="6da7715ce44349b3" providerId="LiveId" clId="{FD7C8263-D63F-4C0C-8E7C-87461E06B06F}" dt="2022-02-16T05:15:35.150" v="1"/>
        <pc:sldMkLst>
          <pc:docMk/>
          <pc:sldMk cId="1926619926" sldId="2147"/>
        </pc:sldMkLst>
      </pc:sldChg>
      <pc:sldChg chg="add">
        <pc:chgData name="Aurelien Domont" userId="6da7715ce44349b3" providerId="LiveId" clId="{FD7C8263-D63F-4C0C-8E7C-87461E06B06F}" dt="2022-02-16T05:15:35.150" v="1"/>
        <pc:sldMkLst>
          <pc:docMk/>
          <pc:sldMk cId="2721199826" sldId="2239"/>
        </pc:sldMkLst>
      </pc:sldChg>
    </pc:docChg>
  </pc:docChgLst>
  <pc:docChgLst>
    <pc:chgData name="Aurelien Domont" userId="6da7715ce44349b3" providerId="LiveId" clId="{33278012-7ADE-41CB-9765-F81F8D5078C0}"/>
    <pc:docChg chg="undo redo custSel addSld delSld modSld sldOrd modMainMaster">
      <pc:chgData name="Aurelien Domont" userId="6da7715ce44349b3" providerId="LiveId" clId="{33278012-7ADE-41CB-9765-F81F8D5078C0}" dt="2022-10-14T01:52:48.407" v="642" actId="478"/>
      <pc:docMkLst>
        <pc:docMk/>
      </pc:docMkLst>
      <pc:sldChg chg="modSp">
        <pc:chgData name="Aurelien Domont" userId="6da7715ce44349b3" providerId="LiveId" clId="{33278012-7ADE-41CB-9765-F81F8D5078C0}" dt="2022-10-14T01:30:37.198" v="344"/>
        <pc:sldMkLst>
          <pc:docMk/>
          <pc:sldMk cId="3131901387" sldId="256"/>
        </pc:sldMkLst>
        <pc:spChg chg="mod">
          <ac:chgData name="Aurelien Domont" userId="6da7715ce44349b3" providerId="LiveId" clId="{33278012-7ADE-41CB-9765-F81F8D5078C0}" dt="2022-10-14T01:30:37.198" v="344"/>
          <ac:spMkLst>
            <pc:docMk/>
            <pc:sldMk cId="3131901387" sldId="256"/>
            <ac:spMk id="2" creationId="{5261080C-C60C-4746-B6B1-A9A4FFA86785}"/>
          </ac:spMkLst>
        </pc:spChg>
      </pc:sldChg>
      <pc:sldChg chg="addSp delSp modSp mod">
        <pc:chgData name="Aurelien Domont" userId="6da7715ce44349b3" providerId="LiveId" clId="{33278012-7ADE-41CB-9765-F81F8D5078C0}" dt="2022-10-14T01:30:37.198" v="344"/>
        <pc:sldMkLst>
          <pc:docMk/>
          <pc:sldMk cId="3022188194" sldId="1518"/>
        </pc:sldMkLst>
        <pc:spChg chg="add mod">
          <ac:chgData name="Aurelien Domont" userId="6da7715ce44349b3" providerId="LiveId" clId="{33278012-7ADE-41CB-9765-F81F8D5078C0}" dt="2022-10-14T00:54:32.881" v="3"/>
          <ac:spMkLst>
            <pc:docMk/>
            <pc:sldMk cId="3022188194" sldId="1518"/>
            <ac:spMk id="4" creationId="{D1E7C254-27E8-4C80-BD23-5AA385ED0BB0}"/>
          </ac:spMkLst>
        </pc:spChg>
        <pc:spChg chg="add mod">
          <ac:chgData name="Aurelien Domont" userId="6da7715ce44349b3" providerId="LiveId" clId="{33278012-7ADE-41CB-9765-F81F8D5078C0}" dt="2022-10-14T00:54:32.881" v="3"/>
          <ac:spMkLst>
            <pc:docMk/>
            <pc:sldMk cId="3022188194" sldId="1518"/>
            <ac:spMk id="6" creationId="{667C03EA-83CA-40BE-AFCB-091FF55BE510}"/>
          </ac:spMkLst>
        </pc:spChg>
        <pc:spChg chg="add mod">
          <ac:chgData name="Aurelien Domont" userId="6da7715ce44349b3" providerId="LiveId" clId="{33278012-7ADE-41CB-9765-F81F8D5078C0}" dt="2022-10-14T00:54:32.881" v="3"/>
          <ac:spMkLst>
            <pc:docMk/>
            <pc:sldMk cId="3022188194" sldId="1518"/>
            <ac:spMk id="8" creationId="{07CBBD6D-7032-4404-9B10-7EA5A7DC582E}"/>
          </ac:spMkLst>
        </pc:spChg>
        <pc:spChg chg="del">
          <ac:chgData name="Aurelien Domont" userId="6da7715ce44349b3" providerId="LiveId" clId="{33278012-7ADE-41CB-9765-F81F8D5078C0}" dt="2022-10-14T00:54:06.053" v="2" actId="478"/>
          <ac:spMkLst>
            <pc:docMk/>
            <pc:sldMk cId="3022188194" sldId="1518"/>
            <ac:spMk id="9" creationId="{D1E7C254-27E8-4C80-BD23-5AA385ED0BB0}"/>
          </ac:spMkLst>
        </pc:spChg>
        <pc:spChg chg="del">
          <ac:chgData name="Aurelien Domont" userId="6da7715ce44349b3" providerId="LiveId" clId="{33278012-7ADE-41CB-9765-F81F8D5078C0}" dt="2022-10-14T00:54:06.053" v="2" actId="478"/>
          <ac:spMkLst>
            <pc:docMk/>
            <pc:sldMk cId="3022188194" sldId="1518"/>
            <ac:spMk id="10" creationId="{667C03EA-83CA-40BE-AFCB-091FF55BE510}"/>
          </ac:spMkLst>
        </pc:spChg>
        <pc:spChg chg="add mod">
          <ac:chgData name="Aurelien Domont" userId="6da7715ce44349b3" providerId="LiveId" clId="{33278012-7ADE-41CB-9765-F81F8D5078C0}" dt="2022-10-14T00:54:32.881" v="3"/>
          <ac:spMkLst>
            <pc:docMk/>
            <pc:sldMk cId="3022188194" sldId="1518"/>
            <ac:spMk id="12" creationId="{5714E95A-480E-44A6-9C6B-8E577094B451}"/>
          </ac:spMkLst>
        </pc:spChg>
        <pc:spChg chg="mod">
          <ac:chgData name="Aurelien Domont" userId="6da7715ce44349b3" providerId="LiveId" clId="{33278012-7ADE-41CB-9765-F81F8D5078C0}" dt="2022-10-14T01:30:37.198" v="344"/>
          <ac:spMkLst>
            <pc:docMk/>
            <pc:sldMk cId="3022188194" sldId="1518"/>
            <ac:spMk id="14" creationId="{C9800183-F524-4412-AB39-A6E1A21FF0B3}"/>
          </ac:spMkLst>
        </pc:spChg>
        <pc:spChg chg="del">
          <ac:chgData name="Aurelien Domont" userId="6da7715ce44349b3" providerId="LiveId" clId="{33278012-7ADE-41CB-9765-F81F8D5078C0}" dt="2022-10-14T00:54:06.053" v="2" actId="478"/>
          <ac:spMkLst>
            <pc:docMk/>
            <pc:sldMk cId="3022188194" sldId="1518"/>
            <ac:spMk id="15" creationId="{07CBBD6D-7032-4404-9B10-7EA5A7DC582E}"/>
          </ac:spMkLst>
        </pc:spChg>
        <pc:spChg chg="del">
          <ac:chgData name="Aurelien Domont" userId="6da7715ce44349b3" providerId="LiveId" clId="{33278012-7ADE-41CB-9765-F81F8D5078C0}" dt="2022-10-14T00:54:06.053" v="2" actId="478"/>
          <ac:spMkLst>
            <pc:docMk/>
            <pc:sldMk cId="3022188194" sldId="1518"/>
            <ac:spMk id="18" creationId="{5714E95A-480E-44A6-9C6B-8E577094B451}"/>
          </ac:spMkLst>
        </pc:spChg>
        <pc:spChg chg="add mod">
          <ac:chgData name="Aurelien Domont" userId="6da7715ce44349b3" providerId="LiveId" clId="{33278012-7ADE-41CB-9765-F81F8D5078C0}" dt="2022-10-14T00:54:32.881" v="3"/>
          <ac:spMkLst>
            <pc:docMk/>
            <pc:sldMk cId="3022188194" sldId="1518"/>
            <ac:spMk id="19" creationId="{31B2B469-6C77-4E8E-913F-4D6148A073AE}"/>
          </ac:spMkLst>
        </pc:spChg>
        <pc:spChg chg="add mod">
          <ac:chgData name="Aurelien Domont" userId="6da7715ce44349b3" providerId="LiveId" clId="{33278012-7ADE-41CB-9765-F81F8D5078C0}" dt="2022-10-14T00:54:32.881" v="3"/>
          <ac:spMkLst>
            <pc:docMk/>
            <pc:sldMk cId="3022188194" sldId="1518"/>
            <ac:spMk id="21" creationId="{D547C259-6BD4-4048-86EB-353F61DD9806}"/>
          </ac:spMkLst>
        </pc:spChg>
        <pc:spChg chg="add mod">
          <ac:chgData name="Aurelien Domont" userId="6da7715ce44349b3" providerId="LiveId" clId="{33278012-7ADE-41CB-9765-F81F8D5078C0}" dt="2022-10-14T00:54:32.881" v="3"/>
          <ac:spMkLst>
            <pc:docMk/>
            <pc:sldMk cId="3022188194" sldId="1518"/>
            <ac:spMk id="22" creationId="{C1A96B1E-19C8-4270-8560-97DF46F2D829}"/>
          </ac:spMkLst>
        </pc:spChg>
        <pc:spChg chg="add mod">
          <ac:chgData name="Aurelien Domont" userId="6da7715ce44349b3" providerId="LiveId" clId="{33278012-7ADE-41CB-9765-F81F8D5078C0}" dt="2022-10-14T00:54:32.881" v="3"/>
          <ac:spMkLst>
            <pc:docMk/>
            <pc:sldMk cId="3022188194" sldId="1518"/>
            <ac:spMk id="23" creationId="{B8523912-61A5-42E0-A4C6-5F91CF46C323}"/>
          </ac:spMkLst>
        </pc:spChg>
        <pc:spChg chg="add mod">
          <ac:chgData name="Aurelien Domont" userId="6da7715ce44349b3" providerId="LiveId" clId="{33278012-7ADE-41CB-9765-F81F8D5078C0}" dt="2022-10-14T00:54:32.881" v="3"/>
          <ac:spMkLst>
            <pc:docMk/>
            <pc:sldMk cId="3022188194" sldId="1518"/>
            <ac:spMk id="24" creationId="{E2B7B902-0955-465D-ADB1-78D68C4C6E84}"/>
          </ac:spMkLst>
        </pc:spChg>
        <pc:spChg chg="del">
          <ac:chgData name="Aurelien Domont" userId="6da7715ce44349b3" providerId="LiveId" clId="{33278012-7ADE-41CB-9765-F81F8D5078C0}" dt="2022-10-14T00:54:06.053" v="2" actId="478"/>
          <ac:spMkLst>
            <pc:docMk/>
            <pc:sldMk cId="3022188194" sldId="1518"/>
            <ac:spMk id="25" creationId="{31B2B469-6C77-4E8E-913F-4D6148A073AE}"/>
          </ac:spMkLst>
        </pc:spChg>
        <pc:spChg chg="del">
          <ac:chgData name="Aurelien Domont" userId="6da7715ce44349b3" providerId="LiveId" clId="{33278012-7ADE-41CB-9765-F81F8D5078C0}" dt="2022-10-14T00:54:06.053" v="2" actId="478"/>
          <ac:spMkLst>
            <pc:docMk/>
            <pc:sldMk cId="3022188194" sldId="1518"/>
            <ac:spMk id="26" creationId="{D547C259-6BD4-4048-86EB-353F61DD9806}"/>
          </ac:spMkLst>
        </pc:spChg>
        <pc:spChg chg="del">
          <ac:chgData name="Aurelien Domont" userId="6da7715ce44349b3" providerId="LiveId" clId="{33278012-7ADE-41CB-9765-F81F8D5078C0}" dt="2022-10-14T00:54:06.053" v="2" actId="478"/>
          <ac:spMkLst>
            <pc:docMk/>
            <pc:sldMk cId="3022188194" sldId="1518"/>
            <ac:spMk id="27" creationId="{C1A96B1E-19C8-4270-8560-97DF46F2D829}"/>
          </ac:spMkLst>
        </pc:spChg>
        <pc:spChg chg="del">
          <ac:chgData name="Aurelien Domont" userId="6da7715ce44349b3" providerId="LiveId" clId="{33278012-7ADE-41CB-9765-F81F8D5078C0}" dt="2022-10-14T00:54:06.053" v="2" actId="478"/>
          <ac:spMkLst>
            <pc:docMk/>
            <pc:sldMk cId="3022188194" sldId="1518"/>
            <ac:spMk id="28" creationId="{B8523912-61A5-42E0-A4C6-5F91CF46C323}"/>
          </ac:spMkLst>
        </pc:spChg>
        <pc:spChg chg="del">
          <ac:chgData name="Aurelien Domont" userId="6da7715ce44349b3" providerId="LiveId" clId="{33278012-7ADE-41CB-9765-F81F8D5078C0}" dt="2022-10-14T00:54:06.053" v="2" actId="478"/>
          <ac:spMkLst>
            <pc:docMk/>
            <pc:sldMk cId="3022188194" sldId="1518"/>
            <ac:spMk id="29" creationId="{E2B7B902-0955-465D-ADB1-78D68C4C6E84}"/>
          </ac:spMkLst>
        </pc:spChg>
        <pc:spChg chg="del">
          <ac:chgData name="Aurelien Domont" userId="6da7715ce44349b3" providerId="LiveId" clId="{33278012-7ADE-41CB-9765-F81F8D5078C0}" dt="2022-10-14T00:54:06.053" v="2" actId="478"/>
          <ac:spMkLst>
            <pc:docMk/>
            <pc:sldMk cId="3022188194" sldId="1518"/>
            <ac:spMk id="30" creationId="{1C714F5A-006A-4CFF-B366-1FB2A5B2B3A8}"/>
          </ac:spMkLst>
        </pc:spChg>
        <pc:spChg chg="del">
          <ac:chgData name="Aurelien Domont" userId="6da7715ce44349b3" providerId="LiveId" clId="{33278012-7ADE-41CB-9765-F81F8D5078C0}" dt="2022-10-14T00:54:06.053" v="2" actId="478"/>
          <ac:spMkLst>
            <pc:docMk/>
            <pc:sldMk cId="3022188194" sldId="1518"/>
            <ac:spMk id="31" creationId="{249B6312-9B17-4728-855A-91A64BDE2A1C}"/>
          </ac:spMkLst>
        </pc:spChg>
        <pc:spChg chg="add mod">
          <ac:chgData name="Aurelien Domont" userId="6da7715ce44349b3" providerId="LiveId" clId="{33278012-7ADE-41CB-9765-F81F8D5078C0}" dt="2022-10-14T00:54:32.881" v="3"/>
          <ac:spMkLst>
            <pc:docMk/>
            <pc:sldMk cId="3022188194" sldId="1518"/>
            <ac:spMk id="32" creationId="{1C714F5A-006A-4CFF-B366-1FB2A5B2B3A8}"/>
          </ac:spMkLst>
        </pc:spChg>
        <pc:spChg chg="add mod">
          <ac:chgData name="Aurelien Domont" userId="6da7715ce44349b3" providerId="LiveId" clId="{33278012-7ADE-41CB-9765-F81F8D5078C0}" dt="2022-10-14T00:54:32.881" v="3"/>
          <ac:spMkLst>
            <pc:docMk/>
            <pc:sldMk cId="3022188194" sldId="1518"/>
            <ac:spMk id="33" creationId="{249B6312-9B17-4728-855A-91A64BDE2A1C}"/>
          </ac:spMkLst>
        </pc:spChg>
        <pc:spChg chg="add mod">
          <ac:chgData name="Aurelien Domont" userId="6da7715ce44349b3" providerId="LiveId" clId="{33278012-7ADE-41CB-9765-F81F8D5078C0}" dt="2022-10-14T00:54:32.881" v="3"/>
          <ac:spMkLst>
            <pc:docMk/>
            <pc:sldMk cId="3022188194" sldId="1518"/>
            <ac:spMk id="40" creationId="{548C87BF-047B-64E1-DD8B-8813BA4737EC}"/>
          </ac:spMkLst>
        </pc:spChg>
        <pc:spChg chg="add mod">
          <ac:chgData name="Aurelien Domont" userId="6da7715ce44349b3" providerId="LiveId" clId="{33278012-7ADE-41CB-9765-F81F8D5078C0}" dt="2022-10-14T00:54:32.881" v="3"/>
          <ac:spMkLst>
            <pc:docMk/>
            <pc:sldMk cId="3022188194" sldId="1518"/>
            <ac:spMk id="41" creationId="{8886B027-04C0-BA6F-6DBC-524D9512CC8C}"/>
          </ac:spMkLst>
        </pc:spChg>
        <pc:spChg chg="add mod">
          <ac:chgData name="Aurelien Domont" userId="6da7715ce44349b3" providerId="LiveId" clId="{33278012-7ADE-41CB-9765-F81F8D5078C0}" dt="2022-10-14T00:54:32.881" v="3"/>
          <ac:spMkLst>
            <pc:docMk/>
            <pc:sldMk cId="3022188194" sldId="1518"/>
            <ac:spMk id="42" creationId="{1AAD36DC-B9AC-DFF3-7B4F-FE744893E448}"/>
          </ac:spMkLst>
        </pc:spChg>
        <pc:spChg chg="mod">
          <ac:chgData name="Aurelien Domont" userId="6da7715ce44349b3" providerId="LiveId" clId="{33278012-7ADE-41CB-9765-F81F8D5078C0}" dt="2022-10-14T01:30:37.198" v="344"/>
          <ac:spMkLst>
            <pc:docMk/>
            <pc:sldMk cId="3022188194" sldId="1518"/>
            <ac:spMk id="43" creationId="{8A734EA8-A794-497B-AA35-A4546E69C48A}"/>
          </ac:spMkLst>
        </pc:spChg>
        <pc:spChg chg="add mod">
          <ac:chgData name="Aurelien Domont" userId="6da7715ce44349b3" providerId="LiveId" clId="{33278012-7ADE-41CB-9765-F81F8D5078C0}" dt="2022-10-14T00:55:38.434" v="7"/>
          <ac:spMkLst>
            <pc:docMk/>
            <pc:sldMk cId="3022188194" sldId="1518"/>
            <ac:spMk id="51" creationId="{D1E7C254-27E8-4C80-BD23-5AA385ED0BB0}"/>
          </ac:spMkLst>
        </pc:spChg>
        <pc:spChg chg="add mod">
          <ac:chgData name="Aurelien Domont" userId="6da7715ce44349b3" providerId="LiveId" clId="{33278012-7ADE-41CB-9765-F81F8D5078C0}" dt="2022-10-14T00:55:38.434" v="7"/>
          <ac:spMkLst>
            <pc:docMk/>
            <pc:sldMk cId="3022188194" sldId="1518"/>
            <ac:spMk id="52" creationId="{667C03EA-83CA-40BE-AFCB-091FF55BE510}"/>
          </ac:spMkLst>
        </pc:spChg>
        <pc:spChg chg="add mod">
          <ac:chgData name="Aurelien Domont" userId="6da7715ce44349b3" providerId="LiveId" clId="{33278012-7ADE-41CB-9765-F81F8D5078C0}" dt="2022-10-14T00:55:38.434" v="7"/>
          <ac:spMkLst>
            <pc:docMk/>
            <pc:sldMk cId="3022188194" sldId="1518"/>
            <ac:spMk id="53" creationId="{07CBBD6D-7032-4404-9B10-7EA5A7DC582E}"/>
          </ac:spMkLst>
        </pc:spChg>
        <pc:spChg chg="add mod">
          <ac:chgData name="Aurelien Domont" userId="6da7715ce44349b3" providerId="LiveId" clId="{33278012-7ADE-41CB-9765-F81F8D5078C0}" dt="2022-10-14T00:55:38.434" v="7"/>
          <ac:spMkLst>
            <pc:docMk/>
            <pc:sldMk cId="3022188194" sldId="1518"/>
            <ac:spMk id="54" creationId="{5714E95A-480E-44A6-9C6B-8E577094B451}"/>
          </ac:spMkLst>
        </pc:spChg>
        <pc:spChg chg="add mod">
          <ac:chgData name="Aurelien Domont" userId="6da7715ce44349b3" providerId="LiveId" clId="{33278012-7ADE-41CB-9765-F81F8D5078C0}" dt="2022-10-14T00:55:38.434" v="7"/>
          <ac:spMkLst>
            <pc:docMk/>
            <pc:sldMk cId="3022188194" sldId="1518"/>
            <ac:spMk id="55" creationId="{31B2B469-6C77-4E8E-913F-4D6148A073AE}"/>
          </ac:spMkLst>
        </pc:spChg>
        <pc:spChg chg="add mod">
          <ac:chgData name="Aurelien Domont" userId="6da7715ce44349b3" providerId="LiveId" clId="{33278012-7ADE-41CB-9765-F81F8D5078C0}" dt="2022-10-14T00:55:38.434" v="7"/>
          <ac:spMkLst>
            <pc:docMk/>
            <pc:sldMk cId="3022188194" sldId="1518"/>
            <ac:spMk id="56" creationId="{D547C259-6BD4-4048-86EB-353F61DD9806}"/>
          </ac:spMkLst>
        </pc:spChg>
        <pc:spChg chg="add mod">
          <ac:chgData name="Aurelien Domont" userId="6da7715ce44349b3" providerId="LiveId" clId="{33278012-7ADE-41CB-9765-F81F8D5078C0}" dt="2022-10-14T00:55:38.434" v="7"/>
          <ac:spMkLst>
            <pc:docMk/>
            <pc:sldMk cId="3022188194" sldId="1518"/>
            <ac:spMk id="57" creationId="{C1A96B1E-19C8-4270-8560-97DF46F2D829}"/>
          </ac:spMkLst>
        </pc:spChg>
        <pc:spChg chg="add mod">
          <ac:chgData name="Aurelien Domont" userId="6da7715ce44349b3" providerId="LiveId" clId="{33278012-7ADE-41CB-9765-F81F8D5078C0}" dt="2022-10-14T00:55:38.434" v="7"/>
          <ac:spMkLst>
            <pc:docMk/>
            <pc:sldMk cId="3022188194" sldId="1518"/>
            <ac:spMk id="58" creationId="{B8523912-61A5-42E0-A4C6-5F91CF46C323}"/>
          </ac:spMkLst>
        </pc:spChg>
        <pc:spChg chg="add mod">
          <ac:chgData name="Aurelien Domont" userId="6da7715ce44349b3" providerId="LiveId" clId="{33278012-7ADE-41CB-9765-F81F8D5078C0}" dt="2022-10-14T00:55:38.434" v="7"/>
          <ac:spMkLst>
            <pc:docMk/>
            <pc:sldMk cId="3022188194" sldId="1518"/>
            <ac:spMk id="59" creationId="{E2B7B902-0955-465D-ADB1-78D68C4C6E84}"/>
          </ac:spMkLst>
        </pc:spChg>
        <pc:spChg chg="add mod">
          <ac:chgData name="Aurelien Domont" userId="6da7715ce44349b3" providerId="LiveId" clId="{33278012-7ADE-41CB-9765-F81F8D5078C0}" dt="2022-10-14T00:55:38.434" v="7"/>
          <ac:spMkLst>
            <pc:docMk/>
            <pc:sldMk cId="3022188194" sldId="1518"/>
            <ac:spMk id="60" creationId="{1C714F5A-006A-4CFF-B366-1FB2A5B2B3A8}"/>
          </ac:spMkLst>
        </pc:spChg>
        <pc:spChg chg="add mod">
          <ac:chgData name="Aurelien Domont" userId="6da7715ce44349b3" providerId="LiveId" clId="{33278012-7ADE-41CB-9765-F81F8D5078C0}" dt="2022-10-14T00:55:38.434" v="7"/>
          <ac:spMkLst>
            <pc:docMk/>
            <pc:sldMk cId="3022188194" sldId="1518"/>
            <ac:spMk id="61" creationId="{249B6312-9B17-4728-855A-91A64BDE2A1C}"/>
          </ac:spMkLst>
        </pc:spChg>
        <pc:spChg chg="add mod">
          <ac:chgData name="Aurelien Domont" userId="6da7715ce44349b3" providerId="LiveId" clId="{33278012-7ADE-41CB-9765-F81F8D5078C0}" dt="2022-10-14T00:55:38.434" v="7"/>
          <ac:spMkLst>
            <pc:docMk/>
            <pc:sldMk cId="3022188194" sldId="1518"/>
            <ac:spMk id="68" creationId="{548C87BF-047B-64E1-DD8B-8813BA4737EC}"/>
          </ac:spMkLst>
        </pc:spChg>
        <pc:spChg chg="add mod">
          <ac:chgData name="Aurelien Domont" userId="6da7715ce44349b3" providerId="LiveId" clId="{33278012-7ADE-41CB-9765-F81F8D5078C0}" dt="2022-10-14T00:55:38.434" v="7"/>
          <ac:spMkLst>
            <pc:docMk/>
            <pc:sldMk cId="3022188194" sldId="1518"/>
            <ac:spMk id="69" creationId="{8886B027-04C0-BA6F-6DBC-524D9512CC8C}"/>
          </ac:spMkLst>
        </pc:spChg>
        <pc:spChg chg="add mod">
          <ac:chgData name="Aurelien Domont" userId="6da7715ce44349b3" providerId="LiveId" clId="{33278012-7ADE-41CB-9765-F81F8D5078C0}" dt="2022-10-14T00:55:38.434" v="7"/>
          <ac:spMkLst>
            <pc:docMk/>
            <pc:sldMk cId="3022188194" sldId="1518"/>
            <ac:spMk id="70" creationId="{1AAD36DC-B9AC-DFF3-7B4F-FE744893E448}"/>
          </ac:spMkLst>
        </pc:spChg>
        <pc:grpChg chg="add del mod">
          <ac:chgData name="Aurelien Domont" userId="6da7715ce44349b3" providerId="LiveId" clId="{33278012-7ADE-41CB-9765-F81F8D5078C0}" dt="2022-10-14T00:55:37.949" v="6" actId="478"/>
          <ac:grpSpMkLst>
            <pc:docMk/>
            <pc:sldMk cId="3022188194" sldId="1518"/>
            <ac:grpSpMk id="2" creationId="{B9355DFE-834D-3999-C6B4-F38B029C687A}"/>
          </ac:grpSpMkLst>
        </pc:grpChg>
        <pc:grpChg chg="add mod">
          <ac:chgData name="Aurelien Domont" userId="6da7715ce44349b3" providerId="LiveId" clId="{33278012-7ADE-41CB-9765-F81F8D5078C0}" dt="2022-10-14T00:55:52.294" v="10" actId="14100"/>
          <ac:grpSpMkLst>
            <pc:docMk/>
            <pc:sldMk cId="3022188194" sldId="1518"/>
            <ac:grpSpMk id="44" creationId="{C20A10F2-69DB-A18C-FEE7-B617CB7253EF}"/>
          </ac:grpSpMkLst>
        </pc:grpChg>
        <pc:grpChg chg="add mod">
          <ac:chgData name="Aurelien Domont" userId="6da7715ce44349b3" providerId="LiveId" clId="{33278012-7ADE-41CB-9765-F81F8D5078C0}" dt="2022-10-14T00:55:38.434" v="7"/>
          <ac:grpSpMkLst>
            <pc:docMk/>
            <pc:sldMk cId="3022188194" sldId="1518"/>
            <ac:grpSpMk id="45" creationId="{B9355DFE-834D-3999-C6B4-F38B029C687A}"/>
          </ac:grpSpMkLst>
        </pc:grpChg>
        <pc:cxnChg chg="del mod">
          <ac:chgData name="Aurelien Domont" userId="6da7715ce44349b3" providerId="LiveId" clId="{33278012-7ADE-41CB-9765-F81F8D5078C0}" dt="2022-10-14T00:54:06.053" v="2" actId="478"/>
          <ac:cxnSpMkLst>
            <pc:docMk/>
            <pc:sldMk cId="3022188194" sldId="1518"/>
            <ac:cxnSpMk id="3" creationId="{2CB1B0CA-5B7F-A308-9762-B655D3C167D9}"/>
          </ac:cxnSpMkLst>
        </pc:cxnChg>
        <pc:cxnChg chg="del mod">
          <ac:chgData name="Aurelien Domont" userId="6da7715ce44349b3" providerId="LiveId" clId="{33278012-7ADE-41CB-9765-F81F8D5078C0}" dt="2022-10-14T00:54:06.053" v="2" actId="478"/>
          <ac:cxnSpMkLst>
            <pc:docMk/>
            <pc:sldMk cId="3022188194" sldId="1518"/>
            <ac:cxnSpMk id="5" creationId="{C7BAD7C9-3FA0-7628-23B0-D9EE4338D0AF}"/>
          </ac:cxnSpMkLst>
        </pc:cxnChg>
        <pc:cxnChg chg="del mod">
          <ac:chgData name="Aurelien Domont" userId="6da7715ce44349b3" providerId="LiveId" clId="{33278012-7ADE-41CB-9765-F81F8D5078C0}" dt="2022-10-14T00:54:06.053" v="2" actId="478"/>
          <ac:cxnSpMkLst>
            <pc:docMk/>
            <pc:sldMk cId="3022188194" sldId="1518"/>
            <ac:cxnSpMk id="7" creationId="{7D59F007-DDA2-4993-BD81-D32F4E7B5F8F}"/>
          </ac:cxnSpMkLst>
        </pc:cxnChg>
        <pc:cxnChg chg="del mod">
          <ac:chgData name="Aurelien Domont" userId="6da7715ce44349b3" providerId="LiveId" clId="{33278012-7ADE-41CB-9765-F81F8D5078C0}" dt="2022-10-14T00:54:06.053" v="2" actId="478"/>
          <ac:cxnSpMkLst>
            <pc:docMk/>
            <pc:sldMk cId="3022188194" sldId="1518"/>
            <ac:cxnSpMk id="11" creationId="{666041EA-8A55-442F-7EB3-3EDE3793D847}"/>
          </ac:cxnSpMkLst>
        </pc:cxnChg>
        <pc:cxnChg chg="del mod">
          <ac:chgData name="Aurelien Domont" userId="6da7715ce44349b3" providerId="LiveId" clId="{33278012-7ADE-41CB-9765-F81F8D5078C0}" dt="2022-10-14T00:54:06.053" v="2" actId="478"/>
          <ac:cxnSpMkLst>
            <pc:docMk/>
            <pc:sldMk cId="3022188194" sldId="1518"/>
            <ac:cxnSpMk id="13" creationId="{293AE5F5-F765-1AF7-69A4-F6E7B550A3C8}"/>
          </ac:cxnSpMkLst>
        </pc:cxnChg>
        <pc:cxnChg chg="del mod">
          <ac:chgData name="Aurelien Domont" userId="6da7715ce44349b3" providerId="LiveId" clId="{33278012-7ADE-41CB-9765-F81F8D5078C0}" dt="2022-10-14T00:54:06.053" v="2" actId="478"/>
          <ac:cxnSpMkLst>
            <pc:docMk/>
            <pc:sldMk cId="3022188194" sldId="1518"/>
            <ac:cxnSpMk id="20" creationId="{1D2B1588-AA7D-6F3A-F8E3-CDDFE84790D8}"/>
          </ac:cxnSpMkLst>
        </pc:cxnChg>
        <pc:cxnChg chg="add mod">
          <ac:chgData name="Aurelien Domont" userId="6da7715ce44349b3" providerId="LiveId" clId="{33278012-7ADE-41CB-9765-F81F8D5078C0}" dt="2022-10-14T00:55:37.949" v="6" actId="478"/>
          <ac:cxnSpMkLst>
            <pc:docMk/>
            <pc:sldMk cId="3022188194" sldId="1518"/>
            <ac:cxnSpMk id="34" creationId="{2CB1B0CA-5B7F-A308-9762-B655D3C167D9}"/>
          </ac:cxnSpMkLst>
        </pc:cxnChg>
        <pc:cxnChg chg="add mod">
          <ac:chgData name="Aurelien Domont" userId="6da7715ce44349b3" providerId="LiveId" clId="{33278012-7ADE-41CB-9765-F81F8D5078C0}" dt="2022-10-14T00:55:37.949" v="6" actId="478"/>
          <ac:cxnSpMkLst>
            <pc:docMk/>
            <pc:sldMk cId="3022188194" sldId="1518"/>
            <ac:cxnSpMk id="35" creationId="{C7BAD7C9-3FA0-7628-23B0-D9EE4338D0AF}"/>
          </ac:cxnSpMkLst>
        </pc:cxnChg>
        <pc:cxnChg chg="add mod">
          <ac:chgData name="Aurelien Domont" userId="6da7715ce44349b3" providerId="LiveId" clId="{33278012-7ADE-41CB-9765-F81F8D5078C0}" dt="2022-10-14T00:55:37.949" v="6" actId="478"/>
          <ac:cxnSpMkLst>
            <pc:docMk/>
            <pc:sldMk cId="3022188194" sldId="1518"/>
            <ac:cxnSpMk id="36" creationId="{7D59F007-DDA2-4993-BD81-D32F4E7B5F8F}"/>
          </ac:cxnSpMkLst>
        </pc:cxnChg>
        <pc:cxnChg chg="add mod">
          <ac:chgData name="Aurelien Domont" userId="6da7715ce44349b3" providerId="LiveId" clId="{33278012-7ADE-41CB-9765-F81F8D5078C0}" dt="2022-10-14T00:55:37.949" v="6" actId="478"/>
          <ac:cxnSpMkLst>
            <pc:docMk/>
            <pc:sldMk cId="3022188194" sldId="1518"/>
            <ac:cxnSpMk id="37" creationId="{666041EA-8A55-442F-7EB3-3EDE3793D847}"/>
          </ac:cxnSpMkLst>
        </pc:cxnChg>
        <pc:cxnChg chg="add mod">
          <ac:chgData name="Aurelien Domont" userId="6da7715ce44349b3" providerId="LiveId" clId="{33278012-7ADE-41CB-9765-F81F8D5078C0}" dt="2022-10-14T00:55:37.949" v="6" actId="478"/>
          <ac:cxnSpMkLst>
            <pc:docMk/>
            <pc:sldMk cId="3022188194" sldId="1518"/>
            <ac:cxnSpMk id="38" creationId="{293AE5F5-F765-1AF7-69A4-F6E7B550A3C8}"/>
          </ac:cxnSpMkLst>
        </pc:cxnChg>
        <pc:cxnChg chg="add mod">
          <ac:chgData name="Aurelien Domont" userId="6da7715ce44349b3" providerId="LiveId" clId="{33278012-7ADE-41CB-9765-F81F8D5078C0}" dt="2022-10-14T00:55:37.949" v="6" actId="478"/>
          <ac:cxnSpMkLst>
            <pc:docMk/>
            <pc:sldMk cId="3022188194" sldId="1518"/>
            <ac:cxnSpMk id="39" creationId="{1D2B1588-AA7D-6F3A-F8E3-CDDFE84790D8}"/>
          </ac:cxnSpMkLst>
        </pc:cxnChg>
        <pc:cxnChg chg="add mod">
          <ac:chgData name="Aurelien Domont" userId="6da7715ce44349b3" providerId="LiveId" clId="{33278012-7ADE-41CB-9765-F81F8D5078C0}" dt="2022-10-14T00:55:38.434" v="7"/>
          <ac:cxnSpMkLst>
            <pc:docMk/>
            <pc:sldMk cId="3022188194" sldId="1518"/>
            <ac:cxnSpMk id="46" creationId="{0A6E884C-2051-DA18-1494-2B52ABBC37A9}"/>
          </ac:cxnSpMkLst>
        </pc:cxnChg>
        <pc:cxnChg chg="add mod">
          <ac:chgData name="Aurelien Domont" userId="6da7715ce44349b3" providerId="LiveId" clId="{33278012-7ADE-41CB-9765-F81F8D5078C0}" dt="2022-10-14T00:55:38.434" v="7"/>
          <ac:cxnSpMkLst>
            <pc:docMk/>
            <pc:sldMk cId="3022188194" sldId="1518"/>
            <ac:cxnSpMk id="47" creationId="{6767BC27-6250-B8A5-F8B4-F8C0C3979091}"/>
          </ac:cxnSpMkLst>
        </pc:cxnChg>
        <pc:cxnChg chg="add mod">
          <ac:chgData name="Aurelien Domont" userId="6da7715ce44349b3" providerId="LiveId" clId="{33278012-7ADE-41CB-9765-F81F8D5078C0}" dt="2022-10-14T00:55:38.434" v="7"/>
          <ac:cxnSpMkLst>
            <pc:docMk/>
            <pc:sldMk cId="3022188194" sldId="1518"/>
            <ac:cxnSpMk id="48" creationId="{D3071B9F-98D5-5F1B-EB4E-619A5E841112}"/>
          </ac:cxnSpMkLst>
        </pc:cxnChg>
        <pc:cxnChg chg="add mod">
          <ac:chgData name="Aurelien Domont" userId="6da7715ce44349b3" providerId="LiveId" clId="{33278012-7ADE-41CB-9765-F81F8D5078C0}" dt="2022-10-14T00:55:38.434" v="7"/>
          <ac:cxnSpMkLst>
            <pc:docMk/>
            <pc:sldMk cId="3022188194" sldId="1518"/>
            <ac:cxnSpMk id="49" creationId="{5E05ACEB-C0A6-4D68-3132-D91FD34D4636}"/>
          </ac:cxnSpMkLst>
        </pc:cxnChg>
        <pc:cxnChg chg="add mod">
          <ac:chgData name="Aurelien Domont" userId="6da7715ce44349b3" providerId="LiveId" clId="{33278012-7ADE-41CB-9765-F81F8D5078C0}" dt="2022-10-14T00:55:38.434" v="7"/>
          <ac:cxnSpMkLst>
            <pc:docMk/>
            <pc:sldMk cId="3022188194" sldId="1518"/>
            <ac:cxnSpMk id="50" creationId="{F43AD27D-B17F-1E4E-E1B9-D38938F7C932}"/>
          </ac:cxnSpMkLst>
        </pc:cxnChg>
        <pc:cxnChg chg="add mod">
          <ac:chgData name="Aurelien Domont" userId="6da7715ce44349b3" providerId="LiveId" clId="{33278012-7ADE-41CB-9765-F81F8D5078C0}" dt="2022-10-14T00:55:38.434" v="7"/>
          <ac:cxnSpMkLst>
            <pc:docMk/>
            <pc:sldMk cId="3022188194" sldId="1518"/>
            <ac:cxnSpMk id="62" creationId="{2CB1B0CA-5B7F-A308-9762-B655D3C167D9}"/>
          </ac:cxnSpMkLst>
        </pc:cxnChg>
        <pc:cxnChg chg="add mod">
          <ac:chgData name="Aurelien Domont" userId="6da7715ce44349b3" providerId="LiveId" clId="{33278012-7ADE-41CB-9765-F81F8D5078C0}" dt="2022-10-14T00:55:38.434" v="7"/>
          <ac:cxnSpMkLst>
            <pc:docMk/>
            <pc:sldMk cId="3022188194" sldId="1518"/>
            <ac:cxnSpMk id="63" creationId="{C7BAD7C9-3FA0-7628-23B0-D9EE4338D0AF}"/>
          </ac:cxnSpMkLst>
        </pc:cxnChg>
        <pc:cxnChg chg="add mod">
          <ac:chgData name="Aurelien Domont" userId="6da7715ce44349b3" providerId="LiveId" clId="{33278012-7ADE-41CB-9765-F81F8D5078C0}" dt="2022-10-14T00:55:38.434" v="7"/>
          <ac:cxnSpMkLst>
            <pc:docMk/>
            <pc:sldMk cId="3022188194" sldId="1518"/>
            <ac:cxnSpMk id="64" creationId="{7D59F007-DDA2-4993-BD81-D32F4E7B5F8F}"/>
          </ac:cxnSpMkLst>
        </pc:cxnChg>
        <pc:cxnChg chg="add mod">
          <ac:chgData name="Aurelien Domont" userId="6da7715ce44349b3" providerId="LiveId" clId="{33278012-7ADE-41CB-9765-F81F8D5078C0}" dt="2022-10-14T00:55:38.434" v="7"/>
          <ac:cxnSpMkLst>
            <pc:docMk/>
            <pc:sldMk cId="3022188194" sldId="1518"/>
            <ac:cxnSpMk id="65" creationId="{666041EA-8A55-442F-7EB3-3EDE3793D847}"/>
          </ac:cxnSpMkLst>
        </pc:cxnChg>
        <pc:cxnChg chg="add mod">
          <ac:chgData name="Aurelien Domont" userId="6da7715ce44349b3" providerId="LiveId" clId="{33278012-7ADE-41CB-9765-F81F8D5078C0}" dt="2022-10-14T00:55:38.434" v="7"/>
          <ac:cxnSpMkLst>
            <pc:docMk/>
            <pc:sldMk cId="3022188194" sldId="1518"/>
            <ac:cxnSpMk id="66" creationId="{293AE5F5-F765-1AF7-69A4-F6E7B550A3C8}"/>
          </ac:cxnSpMkLst>
        </pc:cxnChg>
        <pc:cxnChg chg="add mod">
          <ac:chgData name="Aurelien Domont" userId="6da7715ce44349b3" providerId="LiveId" clId="{33278012-7ADE-41CB-9765-F81F8D5078C0}" dt="2022-10-14T00:55:38.434" v="7"/>
          <ac:cxnSpMkLst>
            <pc:docMk/>
            <pc:sldMk cId="3022188194" sldId="1518"/>
            <ac:cxnSpMk id="67" creationId="{1D2B1588-AA7D-6F3A-F8E3-CDDFE84790D8}"/>
          </ac:cxnSpMkLst>
        </pc:cxnChg>
      </pc:sldChg>
      <pc:sldChg chg="modSp">
        <pc:chgData name="Aurelien Domont" userId="6da7715ce44349b3" providerId="LiveId" clId="{33278012-7ADE-41CB-9765-F81F8D5078C0}" dt="2022-10-14T01:30:37.198" v="344"/>
        <pc:sldMkLst>
          <pc:docMk/>
          <pc:sldMk cId="2674311003" sldId="1609"/>
        </pc:sldMkLst>
        <pc:spChg chg="mod">
          <ac:chgData name="Aurelien Domont" userId="6da7715ce44349b3" providerId="LiveId" clId="{33278012-7ADE-41CB-9765-F81F8D5078C0}" dt="2022-10-14T01:30:37.198" v="344"/>
          <ac:spMkLst>
            <pc:docMk/>
            <pc:sldMk cId="2674311003" sldId="1609"/>
            <ac:spMk id="2" creationId="{98205034-64E8-4435-BFA1-43956B7507D0}"/>
          </ac:spMkLst>
        </pc:spChg>
        <pc:spChg chg="mod">
          <ac:chgData name="Aurelien Domont" userId="6da7715ce44349b3" providerId="LiveId" clId="{33278012-7ADE-41CB-9765-F81F8D5078C0}" dt="2022-10-14T01:30:37.198" v="344"/>
          <ac:spMkLst>
            <pc:docMk/>
            <pc:sldMk cId="2674311003" sldId="1609"/>
            <ac:spMk id="8" creationId="{A76A0507-70F3-4E48-940C-8D8560D8E8CC}"/>
          </ac:spMkLst>
        </pc:spChg>
      </pc:sldChg>
      <pc:sldChg chg="modSp">
        <pc:chgData name="Aurelien Domont" userId="6da7715ce44349b3" providerId="LiveId" clId="{33278012-7ADE-41CB-9765-F81F8D5078C0}" dt="2022-10-14T01:30:37.198" v="344"/>
        <pc:sldMkLst>
          <pc:docMk/>
          <pc:sldMk cId="755765328" sldId="1848"/>
        </pc:sldMkLst>
        <pc:spChg chg="mod">
          <ac:chgData name="Aurelien Domont" userId="6da7715ce44349b3" providerId="LiveId" clId="{33278012-7ADE-41CB-9765-F81F8D5078C0}" dt="2022-10-14T01:30:37.198" v="344"/>
          <ac:spMkLst>
            <pc:docMk/>
            <pc:sldMk cId="755765328" sldId="1848"/>
            <ac:spMk id="8" creationId="{19FFFDF3-27AA-4642-858A-EA1F6C35BE73}"/>
          </ac:spMkLst>
        </pc:spChg>
        <pc:spChg chg="mod">
          <ac:chgData name="Aurelien Domont" userId="6da7715ce44349b3" providerId="LiveId" clId="{33278012-7ADE-41CB-9765-F81F8D5078C0}" dt="2022-10-14T01:30:37.198" v="344"/>
          <ac:spMkLst>
            <pc:docMk/>
            <pc:sldMk cId="755765328" sldId="1848"/>
            <ac:spMk id="14" creationId="{C9800183-F524-4412-AB39-A6E1A21FF0B3}"/>
          </ac:spMkLst>
        </pc:spChg>
      </pc:sldChg>
      <pc:sldChg chg="modSp">
        <pc:chgData name="Aurelien Domont" userId="6da7715ce44349b3" providerId="LiveId" clId="{33278012-7ADE-41CB-9765-F81F8D5078C0}" dt="2022-10-14T01:30:37.198" v="344"/>
        <pc:sldMkLst>
          <pc:docMk/>
          <pc:sldMk cId="1654661241" sldId="1849"/>
        </pc:sldMkLst>
        <pc:spChg chg="mod">
          <ac:chgData name="Aurelien Domont" userId="6da7715ce44349b3" providerId="LiveId" clId="{33278012-7ADE-41CB-9765-F81F8D5078C0}" dt="2022-10-14T01:30:37.198" v="344"/>
          <ac:spMkLst>
            <pc:docMk/>
            <pc:sldMk cId="1654661241" sldId="1849"/>
            <ac:spMk id="8" creationId="{8CAEEBDE-DA88-4A3B-9AA2-22E5F2EDB4F3}"/>
          </ac:spMkLst>
        </pc:spChg>
        <pc:spChg chg="mod">
          <ac:chgData name="Aurelien Domont" userId="6da7715ce44349b3" providerId="LiveId" clId="{33278012-7ADE-41CB-9765-F81F8D5078C0}" dt="2022-10-14T01:30:37.198" v="344"/>
          <ac:spMkLst>
            <pc:docMk/>
            <pc:sldMk cId="1654661241" sldId="1849"/>
            <ac:spMk id="14" creationId="{C9800183-F524-4412-AB39-A6E1A21FF0B3}"/>
          </ac:spMkLst>
        </pc:spChg>
      </pc:sldChg>
      <pc:sldChg chg="modSp">
        <pc:chgData name="Aurelien Domont" userId="6da7715ce44349b3" providerId="LiveId" clId="{33278012-7ADE-41CB-9765-F81F8D5078C0}" dt="2022-10-14T01:30:37.198" v="344"/>
        <pc:sldMkLst>
          <pc:docMk/>
          <pc:sldMk cId="1833221085" sldId="1850"/>
        </pc:sldMkLst>
        <pc:spChg chg="mod">
          <ac:chgData name="Aurelien Domont" userId="6da7715ce44349b3" providerId="LiveId" clId="{33278012-7ADE-41CB-9765-F81F8D5078C0}" dt="2022-10-14T01:30:37.198" v="344"/>
          <ac:spMkLst>
            <pc:docMk/>
            <pc:sldMk cId="1833221085" sldId="1850"/>
            <ac:spMk id="8" creationId="{1ED887BC-CFE1-4CB6-AB06-422FC3C1B14D}"/>
          </ac:spMkLst>
        </pc:spChg>
        <pc:spChg chg="mod">
          <ac:chgData name="Aurelien Domont" userId="6da7715ce44349b3" providerId="LiveId" clId="{33278012-7ADE-41CB-9765-F81F8D5078C0}" dt="2022-10-14T01:30:37.198" v="344"/>
          <ac:spMkLst>
            <pc:docMk/>
            <pc:sldMk cId="1833221085" sldId="1850"/>
            <ac:spMk id="14" creationId="{C9800183-F524-4412-AB39-A6E1A21FF0B3}"/>
          </ac:spMkLst>
        </pc:spChg>
      </pc:sldChg>
      <pc:sldChg chg="modSp">
        <pc:chgData name="Aurelien Domont" userId="6da7715ce44349b3" providerId="LiveId" clId="{33278012-7ADE-41CB-9765-F81F8D5078C0}" dt="2022-10-14T01:30:37.198" v="344"/>
        <pc:sldMkLst>
          <pc:docMk/>
          <pc:sldMk cId="2643012456" sldId="1851"/>
        </pc:sldMkLst>
        <pc:spChg chg="mod">
          <ac:chgData name="Aurelien Domont" userId="6da7715ce44349b3" providerId="LiveId" clId="{33278012-7ADE-41CB-9765-F81F8D5078C0}" dt="2022-10-14T01:30:37.198" v="344"/>
          <ac:spMkLst>
            <pc:docMk/>
            <pc:sldMk cId="2643012456" sldId="1851"/>
            <ac:spMk id="8" creationId="{C22DBBD7-2BFC-4044-BE16-7E25EB9A8743}"/>
          </ac:spMkLst>
        </pc:spChg>
        <pc:spChg chg="mod">
          <ac:chgData name="Aurelien Domont" userId="6da7715ce44349b3" providerId="LiveId" clId="{33278012-7ADE-41CB-9765-F81F8D5078C0}" dt="2022-10-14T01:30:37.198" v="344"/>
          <ac:spMkLst>
            <pc:docMk/>
            <pc:sldMk cId="2643012456" sldId="1851"/>
            <ac:spMk id="14" creationId="{C9800183-F524-4412-AB39-A6E1A21FF0B3}"/>
          </ac:spMkLst>
        </pc:spChg>
      </pc:sldChg>
      <pc:sldChg chg="modSp">
        <pc:chgData name="Aurelien Domont" userId="6da7715ce44349b3" providerId="LiveId" clId="{33278012-7ADE-41CB-9765-F81F8D5078C0}" dt="2022-10-14T01:30:37.198" v="344"/>
        <pc:sldMkLst>
          <pc:docMk/>
          <pc:sldMk cId="1059551536" sldId="1852"/>
        </pc:sldMkLst>
        <pc:spChg chg="mod">
          <ac:chgData name="Aurelien Domont" userId="6da7715ce44349b3" providerId="LiveId" clId="{33278012-7ADE-41CB-9765-F81F8D5078C0}" dt="2022-10-14T01:30:37.198" v="344"/>
          <ac:spMkLst>
            <pc:docMk/>
            <pc:sldMk cId="1059551536" sldId="1852"/>
            <ac:spMk id="8" creationId="{0140AA94-E112-4CD3-BCEF-F9434E88E42C}"/>
          </ac:spMkLst>
        </pc:spChg>
        <pc:spChg chg="mod">
          <ac:chgData name="Aurelien Domont" userId="6da7715ce44349b3" providerId="LiveId" clId="{33278012-7ADE-41CB-9765-F81F8D5078C0}" dt="2022-10-14T01:30:37.198" v="344"/>
          <ac:spMkLst>
            <pc:docMk/>
            <pc:sldMk cId="1059551536" sldId="1852"/>
            <ac:spMk id="14" creationId="{C9800183-F524-4412-AB39-A6E1A21FF0B3}"/>
          </ac:spMkLst>
        </pc:spChg>
      </pc:sldChg>
      <pc:sldChg chg="modSp">
        <pc:chgData name="Aurelien Domont" userId="6da7715ce44349b3" providerId="LiveId" clId="{33278012-7ADE-41CB-9765-F81F8D5078C0}" dt="2022-10-14T01:30:37.198" v="344"/>
        <pc:sldMkLst>
          <pc:docMk/>
          <pc:sldMk cId="2896019095" sldId="1853"/>
        </pc:sldMkLst>
        <pc:spChg chg="mod">
          <ac:chgData name="Aurelien Domont" userId="6da7715ce44349b3" providerId="LiveId" clId="{33278012-7ADE-41CB-9765-F81F8D5078C0}" dt="2022-10-14T01:30:37.198" v="344"/>
          <ac:spMkLst>
            <pc:docMk/>
            <pc:sldMk cId="2896019095" sldId="1853"/>
            <ac:spMk id="8" creationId="{3237CB2A-BE26-4E5C-89D1-6D51C8A773C7}"/>
          </ac:spMkLst>
        </pc:spChg>
        <pc:spChg chg="mod">
          <ac:chgData name="Aurelien Domont" userId="6da7715ce44349b3" providerId="LiveId" clId="{33278012-7ADE-41CB-9765-F81F8D5078C0}" dt="2022-10-14T01:30:37.198" v="344"/>
          <ac:spMkLst>
            <pc:docMk/>
            <pc:sldMk cId="2896019095" sldId="1853"/>
            <ac:spMk id="14" creationId="{C9800183-F524-4412-AB39-A6E1A21FF0B3}"/>
          </ac:spMkLst>
        </pc:spChg>
      </pc:sldChg>
      <pc:sldChg chg="modSp">
        <pc:chgData name="Aurelien Domont" userId="6da7715ce44349b3" providerId="LiveId" clId="{33278012-7ADE-41CB-9765-F81F8D5078C0}" dt="2022-10-14T01:30:37.198" v="344"/>
        <pc:sldMkLst>
          <pc:docMk/>
          <pc:sldMk cId="3879198551" sldId="1854"/>
        </pc:sldMkLst>
        <pc:spChg chg="mod">
          <ac:chgData name="Aurelien Domont" userId="6da7715ce44349b3" providerId="LiveId" clId="{33278012-7ADE-41CB-9765-F81F8D5078C0}" dt="2022-10-14T01:30:37.198" v="344"/>
          <ac:spMkLst>
            <pc:docMk/>
            <pc:sldMk cId="3879198551" sldId="1854"/>
            <ac:spMk id="8" creationId="{3E8FA752-64CE-4076-A955-3BE422B66A1B}"/>
          </ac:spMkLst>
        </pc:spChg>
        <pc:spChg chg="mod">
          <ac:chgData name="Aurelien Domont" userId="6da7715ce44349b3" providerId="LiveId" clId="{33278012-7ADE-41CB-9765-F81F8D5078C0}" dt="2022-10-14T01:30:37.198" v="344"/>
          <ac:spMkLst>
            <pc:docMk/>
            <pc:sldMk cId="3879198551" sldId="1854"/>
            <ac:spMk id="14" creationId="{C9800183-F524-4412-AB39-A6E1A21FF0B3}"/>
          </ac:spMkLst>
        </pc:spChg>
      </pc:sldChg>
      <pc:sldChg chg="modSp">
        <pc:chgData name="Aurelien Domont" userId="6da7715ce44349b3" providerId="LiveId" clId="{33278012-7ADE-41CB-9765-F81F8D5078C0}" dt="2022-10-14T01:30:37.198" v="344"/>
        <pc:sldMkLst>
          <pc:docMk/>
          <pc:sldMk cId="1264531518" sldId="1855"/>
        </pc:sldMkLst>
        <pc:spChg chg="mod">
          <ac:chgData name="Aurelien Domont" userId="6da7715ce44349b3" providerId="LiveId" clId="{33278012-7ADE-41CB-9765-F81F8D5078C0}" dt="2022-10-14T01:30:37.198" v="344"/>
          <ac:spMkLst>
            <pc:docMk/>
            <pc:sldMk cId="1264531518" sldId="1855"/>
            <ac:spMk id="8" creationId="{F6DDE536-1E83-49C5-8F78-0094FF87BEA7}"/>
          </ac:spMkLst>
        </pc:spChg>
        <pc:spChg chg="mod">
          <ac:chgData name="Aurelien Domont" userId="6da7715ce44349b3" providerId="LiveId" clId="{33278012-7ADE-41CB-9765-F81F8D5078C0}" dt="2022-10-14T01:30:37.198" v="344"/>
          <ac:spMkLst>
            <pc:docMk/>
            <pc:sldMk cId="1264531518" sldId="1855"/>
            <ac:spMk id="14" creationId="{C9800183-F524-4412-AB39-A6E1A21FF0B3}"/>
          </ac:spMkLst>
        </pc:spChg>
      </pc:sldChg>
      <pc:sldChg chg="modSp">
        <pc:chgData name="Aurelien Domont" userId="6da7715ce44349b3" providerId="LiveId" clId="{33278012-7ADE-41CB-9765-F81F8D5078C0}" dt="2022-10-14T01:30:37.198" v="344"/>
        <pc:sldMkLst>
          <pc:docMk/>
          <pc:sldMk cId="3081362484" sldId="1856"/>
        </pc:sldMkLst>
        <pc:spChg chg="mod">
          <ac:chgData name="Aurelien Domont" userId="6da7715ce44349b3" providerId="LiveId" clId="{33278012-7ADE-41CB-9765-F81F8D5078C0}" dt="2022-10-14T01:30:37.198" v="344"/>
          <ac:spMkLst>
            <pc:docMk/>
            <pc:sldMk cId="3081362484" sldId="1856"/>
            <ac:spMk id="8" creationId="{6D548919-B77E-459E-9328-56E7AC60A297}"/>
          </ac:spMkLst>
        </pc:spChg>
        <pc:spChg chg="mod">
          <ac:chgData name="Aurelien Domont" userId="6da7715ce44349b3" providerId="LiveId" clId="{33278012-7ADE-41CB-9765-F81F8D5078C0}" dt="2022-10-14T01:30:37.198" v="344"/>
          <ac:spMkLst>
            <pc:docMk/>
            <pc:sldMk cId="3081362484" sldId="1856"/>
            <ac:spMk id="14" creationId="{C9800183-F524-4412-AB39-A6E1A21FF0B3}"/>
          </ac:spMkLst>
        </pc:spChg>
      </pc:sldChg>
      <pc:sldChg chg="modSp">
        <pc:chgData name="Aurelien Domont" userId="6da7715ce44349b3" providerId="LiveId" clId="{33278012-7ADE-41CB-9765-F81F8D5078C0}" dt="2022-10-14T01:30:37.198" v="344"/>
        <pc:sldMkLst>
          <pc:docMk/>
          <pc:sldMk cId="684678840" sldId="1857"/>
        </pc:sldMkLst>
        <pc:spChg chg="mod">
          <ac:chgData name="Aurelien Domont" userId="6da7715ce44349b3" providerId="LiveId" clId="{33278012-7ADE-41CB-9765-F81F8D5078C0}" dt="2022-10-14T01:30:37.198" v="344"/>
          <ac:spMkLst>
            <pc:docMk/>
            <pc:sldMk cId="684678840" sldId="1857"/>
            <ac:spMk id="8" creationId="{1C702CE4-C0B1-46BE-BA60-D4CF5D35EF8E}"/>
          </ac:spMkLst>
        </pc:spChg>
        <pc:spChg chg="mod">
          <ac:chgData name="Aurelien Domont" userId="6da7715ce44349b3" providerId="LiveId" clId="{33278012-7ADE-41CB-9765-F81F8D5078C0}" dt="2022-10-14T01:30:37.198" v="344"/>
          <ac:spMkLst>
            <pc:docMk/>
            <pc:sldMk cId="684678840" sldId="1857"/>
            <ac:spMk id="14" creationId="{C9800183-F524-4412-AB39-A6E1A21FF0B3}"/>
          </ac:spMkLst>
        </pc:spChg>
      </pc:sldChg>
      <pc:sldChg chg="modSp">
        <pc:chgData name="Aurelien Domont" userId="6da7715ce44349b3" providerId="LiveId" clId="{33278012-7ADE-41CB-9765-F81F8D5078C0}" dt="2022-10-14T01:30:37.198" v="344"/>
        <pc:sldMkLst>
          <pc:docMk/>
          <pc:sldMk cId="482510297" sldId="1858"/>
        </pc:sldMkLst>
        <pc:spChg chg="mod">
          <ac:chgData name="Aurelien Domont" userId="6da7715ce44349b3" providerId="LiveId" clId="{33278012-7ADE-41CB-9765-F81F8D5078C0}" dt="2022-10-14T01:30:37.198" v="344"/>
          <ac:spMkLst>
            <pc:docMk/>
            <pc:sldMk cId="482510297" sldId="1858"/>
            <ac:spMk id="8" creationId="{1057F557-C1F0-4290-9E49-5C82935E5CD2}"/>
          </ac:spMkLst>
        </pc:spChg>
        <pc:spChg chg="mod">
          <ac:chgData name="Aurelien Domont" userId="6da7715ce44349b3" providerId="LiveId" clId="{33278012-7ADE-41CB-9765-F81F8D5078C0}" dt="2022-10-14T01:30:37.198" v="344"/>
          <ac:spMkLst>
            <pc:docMk/>
            <pc:sldMk cId="482510297" sldId="1858"/>
            <ac:spMk id="14" creationId="{C9800183-F524-4412-AB39-A6E1A21FF0B3}"/>
          </ac:spMkLst>
        </pc:spChg>
      </pc:sldChg>
      <pc:sldChg chg="modSp">
        <pc:chgData name="Aurelien Domont" userId="6da7715ce44349b3" providerId="LiveId" clId="{33278012-7ADE-41CB-9765-F81F8D5078C0}" dt="2022-10-14T01:30:37.198" v="344"/>
        <pc:sldMkLst>
          <pc:docMk/>
          <pc:sldMk cId="2826011406" sldId="1859"/>
        </pc:sldMkLst>
        <pc:spChg chg="mod">
          <ac:chgData name="Aurelien Domont" userId="6da7715ce44349b3" providerId="LiveId" clId="{33278012-7ADE-41CB-9765-F81F8D5078C0}" dt="2022-10-14T01:30:37.198" v="344"/>
          <ac:spMkLst>
            <pc:docMk/>
            <pc:sldMk cId="2826011406" sldId="1859"/>
            <ac:spMk id="9" creationId="{1234350B-3A6A-4220-BEB8-BACDF1281E27}"/>
          </ac:spMkLst>
        </pc:spChg>
        <pc:spChg chg="mod">
          <ac:chgData name="Aurelien Domont" userId="6da7715ce44349b3" providerId="LiveId" clId="{33278012-7ADE-41CB-9765-F81F8D5078C0}" dt="2022-10-14T01:30:37.198" v="344"/>
          <ac:spMkLst>
            <pc:docMk/>
            <pc:sldMk cId="2826011406" sldId="1859"/>
            <ac:spMk id="14" creationId="{C9800183-F524-4412-AB39-A6E1A21FF0B3}"/>
          </ac:spMkLst>
        </pc:spChg>
      </pc:sldChg>
      <pc:sldChg chg="modSp">
        <pc:chgData name="Aurelien Domont" userId="6da7715ce44349b3" providerId="LiveId" clId="{33278012-7ADE-41CB-9765-F81F8D5078C0}" dt="2022-10-14T01:30:37.198" v="344"/>
        <pc:sldMkLst>
          <pc:docMk/>
          <pc:sldMk cId="843660713" sldId="1860"/>
        </pc:sldMkLst>
        <pc:spChg chg="mod">
          <ac:chgData name="Aurelien Domont" userId="6da7715ce44349b3" providerId="LiveId" clId="{33278012-7ADE-41CB-9765-F81F8D5078C0}" dt="2022-10-14T01:30:37.198" v="344"/>
          <ac:spMkLst>
            <pc:docMk/>
            <pc:sldMk cId="843660713" sldId="1860"/>
            <ac:spMk id="9" creationId="{AE524FE1-07CB-4BDF-BE7C-F8CD11F7F042}"/>
          </ac:spMkLst>
        </pc:spChg>
        <pc:spChg chg="mod">
          <ac:chgData name="Aurelien Domont" userId="6da7715ce44349b3" providerId="LiveId" clId="{33278012-7ADE-41CB-9765-F81F8D5078C0}" dt="2022-10-14T01:30:37.198" v="344"/>
          <ac:spMkLst>
            <pc:docMk/>
            <pc:sldMk cId="843660713" sldId="1860"/>
            <ac:spMk id="14" creationId="{C9800183-F524-4412-AB39-A6E1A21FF0B3}"/>
          </ac:spMkLst>
        </pc:spChg>
      </pc:sldChg>
      <pc:sldChg chg="modSp">
        <pc:chgData name="Aurelien Domont" userId="6da7715ce44349b3" providerId="LiveId" clId="{33278012-7ADE-41CB-9765-F81F8D5078C0}" dt="2022-10-14T01:30:37.198" v="344"/>
        <pc:sldMkLst>
          <pc:docMk/>
          <pc:sldMk cId="2263937495" sldId="1861"/>
        </pc:sldMkLst>
        <pc:spChg chg="mod">
          <ac:chgData name="Aurelien Domont" userId="6da7715ce44349b3" providerId="LiveId" clId="{33278012-7ADE-41CB-9765-F81F8D5078C0}" dt="2022-10-14T01:30:37.198" v="344"/>
          <ac:spMkLst>
            <pc:docMk/>
            <pc:sldMk cId="2263937495" sldId="1861"/>
            <ac:spMk id="9" creationId="{F899EC29-8C8D-4687-8ABE-0B44DB908331}"/>
          </ac:spMkLst>
        </pc:spChg>
        <pc:spChg chg="mod">
          <ac:chgData name="Aurelien Domont" userId="6da7715ce44349b3" providerId="LiveId" clId="{33278012-7ADE-41CB-9765-F81F8D5078C0}" dt="2022-10-14T01:30:37.198" v="344"/>
          <ac:spMkLst>
            <pc:docMk/>
            <pc:sldMk cId="2263937495" sldId="1861"/>
            <ac:spMk id="14" creationId="{C9800183-F524-4412-AB39-A6E1A21FF0B3}"/>
          </ac:spMkLst>
        </pc:spChg>
      </pc:sldChg>
      <pc:sldChg chg="modSp">
        <pc:chgData name="Aurelien Domont" userId="6da7715ce44349b3" providerId="LiveId" clId="{33278012-7ADE-41CB-9765-F81F8D5078C0}" dt="2022-10-14T01:30:37.198" v="344"/>
        <pc:sldMkLst>
          <pc:docMk/>
          <pc:sldMk cId="2207873510" sldId="1863"/>
        </pc:sldMkLst>
        <pc:spChg chg="mod">
          <ac:chgData name="Aurelien Domont" userId="6da7715ce44349b3" providerId="LiveId" clId="{33278012-7ADE-41CB-9765-F81F8D5078C0}" dt="2022-10-14T01:30:37.198" v="344"/>
          <ac:spMkLst>
            <pc:docMk/>
            <pc:sldMk cId="2207873510" sldId="1863"/>
            <ac:spMk id="14" creationId="{C9800183-F524-4412-AB39-A6E1A21FF0B3}"/>
          </ac:spMkLst>
        </pc:spChg>
        <pc:spChg chg="mod">
          <ac:chgData name="Aurelien Domont" userId="6da7715ce44349b3" providerId="LiveId" clId="{33278012-7ADE-41CB-9765-F81F8D5078C0}" dt="2022-10-14T01:30:37.198" v="344"/>
          <ac:spMkLst>
            <pc:docMk/>
            <pc:sldMk cId="2207873510" sldId="1863"/>
            <ac:spMk id="43" creationId="{8A734EA8-A794-497B-AA35-A4546E69C48A}"/>
          </ac:spMkLst>
        </pc:spChg>
      </pc:sldChg>
      <pc:sldChg chg="modSp add del">
        <pc:chgData name="Aurelien Domont" userId="6da7715ce44349b3" providerId="LiveId" clId="{33278012-7ADE-41CB-9765-F81F8D5078C0}" dt="2022-10-14T01:30:37.198" v="344"/>
        <pc:sldMkLst>
          <pc:docMk/>
          <pc:sldMk cId="1754585881" sldId="2423"/>
        </pc:sldMkLst>
        <pc:spChg chg="mod">
          <ac:chgData name="Aurelien Domont" userId="6da7715ce44349b3" providerId="LiveId" clId="{33278012-7ADE-41CB-9765-F81F8D5078C0}" dt="2022-10-14T01:30:37.198" v="344"/>
          <ac:spMkLst>
            <pc:docMk/>
            <pc:sldMk cId="1754585881" sldId="2423"/>
            <ac:spMk id="6" creationId="{DE0F4260-85F5-47B2-8F90-716F6604029A}"/>
          </ac:spMkLst>
        </pc:spChg>
      </pc:sldChg>
      <pc:sldChg chg="modSp add del">
        <pc:chgData name="Aurelien Domont" userId="6da7715ce44349b3" providerId="LiveId" clId="{33278012-7ADE-41CB-9765-F81F8D5078C0}" dt="2022-10-14T01:30:37.198" v="344"/>
        <pc:sldMkLst>
          <pc:docMk/>
          <pc:sldMk cId="748962572" sldId="2424"/>
        </pc:sldMkLst>
        <pc:spChg chg="mod">
          <ac:chgData name="Aurelien Domont" userId="6da7715ce44349b3" providerId="LiveId" clId="{33278012-7ADE-41CB-9765-F81F8D5078C0}" dt="2022-10-14T01:30:37.198" v="344"/>
          <ac:spMkLst>
            <pc:docMk/>
            <pc:sldMk cId="748962572" sldId="2424"/>
            <ac:spMk id="6" creationId="{461FCE6B-D7D6-49AF-83FE-4C16649B34CE}"/>
          </ac:spMkLst>
        </pc:spChg>
      </pc:sldChg>
      <pc:sldChg chg="modSp">
        <pc:chgData name="Aurelien Domont" userId="6da7715ce44349b3" providerId="LiveId" clId="{33278012-7ADE-41CB-9765-F81F8D5078C0}" dt="2022-10-14T01:30:37.198" v="344"/>
        <pc:sldMkLst>
          <pc:docMk/>
          <pc:sldMk cId="2853806433" sldId="2425"/>
        </pc:sldMkLst>
        <pc:spChg chg="mod">
          <ac:chgData name="Aurelien Domont" userId="6da7715ce44349b3" providerId="LiveId" clId="{33278012-7ADE-41CB-9765-F81F8D5078C0}" dt="2022-10-14T01:30:37.198" v="344"/>
          <ac:spMkLst>
            <pc:docMk/>
            <pc:sldMk cId="2853806433" sldId="2425"/>
            <ac:spMk id="8" creationId="{3D029769-9B2F-4A51-8446-2206A9A2EF30}"/>
          </ac:spMkLst>
        </pc:spChg>
      </pc:sldChg>
      <pc:sldChg chg="modSp">
        <pc:chgData name="Aurelien Domont" userId="6da7715ce44349b3" providerId="LiveId" clId="{33278012-7ADE-41CB-9765-F81F8D5078C0}" dt="2022-10-14T01:30:37.198" v="344"/>
        <pc:sldMkLst>
          <pc:docMk/>
          <pc:sldMk cId="1876858990" sldId="2426"/>
        </pc:sldMkLst>
        <pc:spChg chg="mod">
          <ac:chgData name="Aurelien Domont" userId="6da7715ce44349b3" providerId="LiveId" clId="{33278012-7ADE-41CB-9765-F81F8D5078C0}" dt="2022-10-14T01:30:37.198" v="344"/>
          <ac:spMkLst>
            <pc:docMk/>
            <pc:sldMk cId="1876858990" sldId="2426"/>
            <ac:spMk id="8" creationId="{3E8FA752-64CE-4076-A955-3BE422B66A1B}"/>
          </ac:spMkLst>
        </pc:spChg>
        <pc:spChg chg="mod">
          <ac:chgData name="Aurelien Domont" userId="6da7715ce44349b3" providerId="LiveId" clId="{33278012-7ADE-41CB-9765-F81F8D5078C0}" dt="2022-10-14T01:30:37.198" v="344"/>
          <ac:spMkLst>
            <pc:docMk/>
            <pc:sldMk cId="1876858990" sldId="2426"/>
            <ac:spMk id="14" creationId="{C9800183-F524-4412-AB39-A6E1A21FF0B3}"/>
          </ac:spMkLst>
        </pc:spChg>
      </pc:sldChg>
      <pc:sldChg chg="addSp delSp modSp add mod">
        <pc:chgData name="Aurelien Domont" userId="6da7715ce44349b3" providerId="LiveId" clId="{33278012-7ADE-41CB-9765-F81F8D5078C0}" dt="2022-10-14T01:52:48.407" v="642" actId="478"/>
        <pc:sldMkLst>
          <pc:docMk/>
          <pc:sldMk cId="303942046" sldId="2427"/>
        </pc:sldMkLst>
        <pc:spChg chg="add mod">
          <ac:chgData name="Aurelien Domont" userId="6da7715ce44349b3" providerId="LiveId" clId="{33278012-7ADE-41CB-9765-F81F8D5078C0}" dt="2022-10-14T01:32:53.572" v="399" actId="404"/>
          <ac:spMkLst>
            <pc:docMk/>
            <pc:sldMk cId="303942046" sldId="2427"/>
            <ac:spMk id="2" creationId="{8414C60D-08E4-7F40-C6A9-C6B6A83B6874}"/>
          </ac:spMkLst>
        </pc:spChg>
        <pc:spChg chg="add del mod">
          <ac:chgData name="Aurelien Domont" userId="6da7715ce44349b3" providerId="LiveId" clId="{33278012-7ADE-41CB-9765-F81F8D5078C0}" dt="2022-10-14T01:29:58.669" v="341" actId="478"/>
          <ac:spMkLst>
            <pc:docMk/>
            <pc:sldMk cId="303942046" sldId="2427"/>
            <ac:spMk id="3" creationId="{62BCD54A-BF23-0A47-5B29-15AD370D4A55}"/>
          </ac:spMkLst>
        </pc:spChg>
        <pc:spChg chg="add mod">
          <ac:chgData name="Aurelien Domont" userId="6da7715ce44349b3" providerId="LiveId" clId="{33278012-7ADE-41CB-9765-F81F8D5078C0}" dt="2022-10-14T01:32:59.839" v="431" actId="1035"/>
          <ac:spMkLst>
            <pc:docMk/>
            <pc:sldMk cId="303942046" sldId="2427"/>
            <ac:spMk id="4" creationId="{D929F7D0-C792-47E3-3AE3-B051C34774A6}"/>
          </ac:spMkLst>
        </pc:spChg>
        <pc:spChg chg="add mod">
          <ac:chgData name="Aurelien Domont" userId="6da7715ce44349b3" providerId="LiveId" clId="{33278012-7ADE-41CB-9765-F81F8D5078C0}" dt="2022-10-14T01:32:59.839" v="431" actId="1035"/>
          <ac:spMkLst>
            <pc:docMk/>
            <pc:sldMk cId="303942046" sldId="2427"/>
            <ac:spMk id="5" creationId="{CB024F49-B97F-C904-6F46-1AA5BDBEDDD1}"/>
          </ac:spMkLst>
        </pc:spChg>
        <pc:spChg chg="add mod">
          <ac:chgData name="Aurelien Domont" userId="6da7715ce44349b3" providerId="LiveId" clId="{33278012-7ADE-41CB-9765-F81F8D5078C0}" dt="2022-10-14T01:32:59.839" v="431" actId="1035"/>
          <ac:spMkLst>
            <pc:docMk/>
            <pc:sldMk cId="303942046" sldId="2427"/>
            <ac:spMk id="6" creationId="{36513C13-8E63-7943-2584-AF8D5A5ACAEE}"/>
          </ac:spMkLst>
        </pc:spChg>
        <pc:spChg chg="add mod">
          <ac:chgData name="Aurelien Domont" userId="6da7715ce44349b3" providerId="LiveId" clId="{33278012-7ADE-41CB-9765-F81F8D5078C0}" dt="2022-10-14T01:32:59.839" v="431" actId="1035"/>
          <ac:spMkLst>
            <pc:docMk/>
            <pc:sldMk cId="303942046" sldId="2427"/>
            <ac:spMk id="7" creationId="{626CDA95-A634-C1C1-671E-96BC457E19E9}"/>
          </ac:spMkLst>
        </pc:spChg>
        <pc:spChg chg="mod">
          <ac:chgData name="Aurelien Domont" userId="6da7715ce44349b3" providerId="LiveId" clId="{33278012-7ADE-41CB-9765-F81F8D5078C0}" dt="2022-10-14T01:30:37.198" v="344"/>
          <ac:spMkLst>
            <pc:docMk/>
            <pc:sldMk cId="303942046" sldId="2427"/>
            <ac:spMk id="8" creationId="{F6DDE536-1E83-49C5-8F78-0094FF87BEA7}"/>
          </ac:spMkLst>
        </pc:spChg>
        <pc:spChg chg="add mod">
          <ac:chgData name="Aurelien Domont" userId="6da7715ce44349b3" providerId="LiveId" clId="{33278012-7ADE-41CB-9765-F81F8D5078C0}" dt="2022-10-14T01:32:59.839" v="431" actId="1035"/>
          <ac:spMkLst>
            <pc:docMk/>
            <pc:sldMk cId="303942046" sldId="2427"/>
            <ac:spMk id="9" creationId="{D08DEB96-5B3B-B61B-2709-74C1B2615638}"/>
          </ac:spMkLst>
        </pc:spChg>
        <pc:spChg chg="add mod">
          <ac:chgData name="Aurelien Domont" userId="6da7715ce44349b3" providerId="LiveId" clId="{33278012-7ADE-41CB-9765-F81F8D5078C0}" dt="2022-10-14T01:49:34.107" v="478" actId="14100"/>
          <ac:spMkLst>
            <pc:docMk/>
            <pc:sldMk cId="303942046" sldId="2427"/>
            <ac:spMk id="10" creationId="{80508C3F-A149-E856-94F0-9477F9DB9D93}"/>
          </ac:spMkLst>
        </pc:spChg>
        <pc:spChg chg="mod">
          <ac:chgData name="Aurelien Domont" userId="6da7715ce44349b3" providerId="LiveId" clId="{33278012-7ADE-41CB-9765-F81F8D5078C0}" dt="2022-10-14T01:30:37.198" v="344"/>
          <ac:spMkLst>
            <pc:docMk/>
            <pc:sldMk cId="303942046" sldId="2427"/>
            <ac:spMk id="14" creationId="{C9800183-F524-4412-AB39-A6E1A21FF0B3}"/>
          </ac:spMkLst>
        </pc:spChg>
        <pc:spChg chg="add del mod">
          <ac:chgData name="Aurelien Domont" userId="6da7715ce44349b3" providerId="LiveId" clId="{33278012-7ADE-41CB-9765-F81F8D5078C0}" dt="2022-10-14T01:51:20.912" v="560" actId="478"/>
          <ac:spMkLst>
            <pc:docMk/>
            <pc:sldMk cId="303942046" sldId="2427"/>
            <ac:spMk id="15" creationId="{9D6E4925-3CB6-B6FC-5CB2-79E1D569BA32}"/>
          </ac:spMkLst>
        </pc:spChg>
        <pc:spChg chg="del">
          <ac:chgData name="Aurelien Domont" userId="6da7715ce44349b3" providerId="LiveId" clId="{33278012-7ADE-41CB-9765-F81F8D5078C0}" dt="2022-10-14T01:02:45.321" v="80" actId="478"/>
          <ac:spMkLst>
            <pc:docMk/>
            <pc:sldMk cId="303942046" sldId="2427"/>
            <ac:spMk id="41" creationId="{CDAC5E1B-649F-44B2-9B6A-55DFC5F981F5}"/>
          </ac:spMkLst>
        </pc:spChg>
        <pc:spChg chg="del">
          <ac:chgData name="Aurelien Domont" userId="6da7715ce44349b3" providerId="LiveId" clId="{33278012-7ADE-41CB-9765-F81F8D5078C0}" dt="2022-10-14T01:02:45.321" v="80" actId="478"/>
          <ac:spMkLst>
            <pc:docMk/>
            <pc:sldMk cId="303942046" sldId="2427"/>
            <ac:spMk id="42" creationId="{30A4BAB1-ECB5-481A-979F-8F991EB2B28D}"/>
          </ac:spMkLst>
        </pc:spChg>
        <pc:picChg chg="add del mod">
          <ac:chgData name="Aurelien Domont" userId="6da7715ce44349b3" providerId="LiveId" clId="{33278012-7ADE-41CB-9765-F81F8D5078C0}" dt="2022-10-14T01:52:48.407" v="642" actId="478"/>
          <ac:picMkLst>
            <pc:docMk/>
            <pc:sldMk cId="303942046" sldId="2427"/>
            <ac:picMk id="12" creationId="{C5DF471F-896F-88B8-C251-A1797398240F}"/>
          </ac:picMkLst>
        </pc:picChg>
        <pc:picChg chg="add del mod">
          <ac:chgData name="Aurelien Domont" userId="6da7715ce44349b3" providerId="LiveId" clId="{33278012-7ADE-41CB-9765-F81F8D5078C0}" dt="2022-10-14T01:52:48.407" v="642" actId="478"/>
          <ac:picMkLst>
            <pc:docMk/>
            <pc:sldMk cId="303942046" sldId="2427"/>
            <ac:picMk id="13" creationId="{7FF1D3BF-FE81-6ACD-FB63-FE430F60D241}"/>
          </ac:picMkLst>
        </pc:picChg>
        <pc:picChg chg="del">
          <ac:chgData name="Aurelien Domont" userId="6da7715ce44349b3" providerId="LiveId" clId="{33278012-7ADE-41CB-9765-F81F8D5078C0}" dt="2022-10-14T01:02:45.321" v="80" actId="478"/>
          <ac:picMkLst>
            <pc:docMk/>
            <pc:sldMk cId="303942046" sldId="2427"/>
            <ac:picMk id="40" creationId="{27542136-C3AF-40E2-B294-B19A0A391709}"/>
          </ac:picMkLst>
        </pc:picChg>
      </pc:sldChg>
      <pc:sldChg chg="delSp modSp add mod ord">
        <pc:chgData name="Aurelien Domont" userId="6da7715ce44349b3" providerId="LiveId" clId="{33278012-7ADE-41CB-9765-F81F8D5078C0}" dt="2022-10-14T01:52:43.042" v="641"/>
        <pc:sldMkLst>
          <pc:docMk/>
          <pc:sldMk cId="3991407611" sldId="2428"/>
        </pc:sldMkLst>
        <pc:spChg chg="del">
          <ac:chgData name="Aurelien Domont" userId="6da7715ce44349b3" providerId="LiveId" clId="{33278012-7ADE-41CB-9765-F81F8D5078C0}" dt="2022-10-14T01:52:22.292" v="634" actId="478"/>
          <ac:spMkLst>
            <pc:docMk/>
            <pc:sldMk cId="3991407611" sldId="2428"/>
            <ac:spMk id="2" creationId="{8414C60D-08E4-7F40-C6A9-C6B6A83B6874}"/>
          </ac:spMkLst>
        </pc:spChg>
        <pc:spChg chg="del">
          <ac:chgData name="Aurelien Domont" userId="6da7715ce44349b3" providerId="LiveId" clId="{33278012-7ADE-41CB-9765-F81F8D5078C0}" dt="2022-10-14T01:52:20.352" v="633" actId="478"/>
          <ac:spMkLst>
            <pc:docMk/>
            <pc:sldMk cId="3991407611" sldId="2428"/>
            <ac:spMk id="4" creationId="{D929F7D0-C792-47E3-3AE3-B051C34774A6}"/>
          </ac:spMkLst>
        </pc:spChg>
        <pc:spChg chg="del">
          <ac:chgData name="Aurelien Domont" userId="6da7715ce44349b3" providerId="LiveId" clId="{33278012-7ADE-41CB-9765-F81F8D5078C0}" dt="2022-10-14T01:52:20.352" v="633" actId="478"/>
          <ac:spMkLst>
            <pc:docMk/>
            <pc:sldMk cId="3991407611" sldId="2428"/>
            <ac:spMk id="5" creationId="{CB024F49-B97F-C904-6F46-1AA5BDBEDDD1}"/>
          </ac:spMkLst>
        </pc:spChg>
        <pc:spChg chg="del">
          <ac:chgData name="Aurelien Domont" userId="6da7715ce44349b3" providerId="LiveId" clId="{33278012-7ADE-41CB-9765-F81F8D5078C0}" dt="2022-10-14T01:52:22.893" v="635" actId="478"/>
          <ac:spMkLst>
            <pc:docMk/>
            <pc:sldMk cId="3991407611" sldId="2428"/>
            <ac:spMk id="6" creationId="{36513C13-8E63-7943-2584-AF8D5A5ACAEE}"/>
          </ac:spMkLst>
        </pc:spChg>
        <pc:spChg chg="del">
          <ac:chgData name="Aurelien Domont" userId="6da7715ce44349b3" providerId="LiveId" clId="{33278012-7ADE-41CB-9765-F81F8D5078C0}" dt="2022-10-14T01:52:20.352" v="633" actId="478"/>
          <ac:spMkLst>
            <pc:docMk/>
            <pc:sldMk cId="3991407611" sldId="2428"/>
            <ac:spMk id="7" creationId="{626CDA95-A634-C1C1-671E-96BC457E19E9}"/>
          </ac:spMkLst>
        </pc:spChg>
        <pc:spChg chg="del">
          <ac:chgData name="Aurelien Domont" userId="6da7715ce44349b3" providerId="LiveId" clId="{33278012-7ADE-41CB-9765-F81F8D5078C0}" dt="2022-10-14T01:52:20.352" v="633" actId="478"/>
          <ac:spMkLst>
            <pc:docMk/>
            <pc:sldMk cId="3991407611" sldId="2428"/>
            <ac:spMk id="9" creationId="{D08DEB96-5B3B-B61B-2709-74C1B2615638}"/>
          </ac:spMkLst>
        </pc:spChg>
        <pc:spChg chg="del">
          <ac:chgData name="Aurelien Domont" userId="6da7715ce44349b3" providerId="LiveId" clId="{33278012-7ADE-41CB-9765-F81F8D5078C0}" dt="2022-10-14T01:52:20.352" v="633" actId="478"/>
          <ac:spMkLst>
            <pc:docMk/>
            <pc:sldMk cId="3991407611" sldId="2428"/>
            <ac:spMk id="10" creationId="{80508C3F-A149-E856-94F0-9477F9DB9D93}"/>
          </ac:spMkLst>
        </pc:spChg>
        <pc:spChg chg="mod">
          <ac:chgData name="Aurelien Domont" userId="6da7715ce44349b3" providerId="LiveId" clId="{33278012-7ADE-41CB-9765-F81F8D5078C0}" dt="2022-10-14T01:52:07.219" v="631" actId="313"/>
          <ac:spMkLst>
            <pc:docMk/>
            <pc:sldMk cId="3991407611" sldId="2428"/>
            <ac:spMk id="14" creationId="{C9800183-F524-4412-AB39-A6E1A21FF0B3}"/>
          </ac:spMkLst>
        </pc:spChg>
        <pc:picChg chg="mod">
          <ac:chgData name="Aurelien Domont" userId="6da7715ce44349b3" providerId="LiveId" clId="{33278012-7ADE-41CB-9765-F81F8D5078C0}" dt="2022-10-14T01:52:27.942" v="638" actId="1076"/>
          <ac:picMkLst>
            <pc:docMk/>
            <pc:sldMk cId="3991407611" sldId="2428"/>
            <ac:picMk id="12" creationId="{C5DF471F-896F-88B8-C251-A1797398240F}"/>
          </ac:picMkLst>
        </pc:picChg>
        <pc:picChg chg="mod">
          <ac:chgData name="Aurelien Domont" userId="6da7715ce44349b3" providerId="LiveId" clId="{33278012-7ADE-41CB-9765-F81F8D5078C0}" dt="2022-10-14T01:52:29.951" v="639" actId="1076"/>
          <ac:picMkLst>
            <pc:docMk/>
            <pc:sldMk cId="3991407611" sldId="2428"/>
            <ac:picMk id="13" creationId="{7FF1D3BF-FE81-6ACD-FB63-FE430F60D241}"/>
          </ac:picMkLst>
        </pc:picChg>
      </pc:sldChg>
      <pc:sldMasterChg chg="addSp modSldLayout">
        <pc:chgData name="Aurelien Domont" userId="6da7715ce44349b3" providerId="LiveId" clId="{33278012-7ADE-41CB-9765-F81F8D5078C0}" dt="2022-10-14T01:30:37.198" v="344"/>
        <pc:sldMasterMkLst>
          <pc:docMk/>
          <pc:sldMasterMk cId="284689217" sldId="2147483674"/>
        </pc:sldMasterMkLst>
        <pc:spChg chg="add">
          <ac:chgData name="Aurelien Domont" userId="6da7715ce44349b3" providerId="LiveId" clId="{33278012-7ADE-41CB-9765-F81F8D5078C0}" dt="2022-10-14T01:30:37.198" v="344"/>
          <ac:spMkLst>
            <pc:docMk/>
            <pc:sldMasterMk cId="284689217" sldId="2147483674"/>
            <ac:spMk id="10" creationId="{B33FF8EE-F736-468B-19A0-30AB13ACB4C1}"/>
          </ac:spMkLst>
        </pc:spChg>
        <pc:spChg chg="add">
          <ac:chgData name="Aurelien Domont" userId="6da7715ce44349b3" providerId="LiveId" clId="{33278012-7ADE-41CB-9765-F81F8D5078C0}" dt="2022-10-14T01:30:37.198" v="344"/>
          <ac:spMkLst>
            <pc:docMk/>
            <pc:sldMasterMk cId="284689217" sldId="2147483674"/>
            <ac:spMk id="11" creationId="{D3171408-D41B-F19B-6239-4387EC31A18F}"/>
          </ac:spMkLst>
        </pc:spChg>
        <pc:graphicFrameChg chg="add">
          <ac:chgData name="Aurelien Domont" userId="6da7715ce44349b3" providerId="LiveId" clId="{33278012-7ADE-41CB-9765-F81F8D5078C0}" dt="2022-10-14T01:30:37.198" v="344"/>
          <ac:graphicFrameMkLst>
            <pc:docMk/>
            <pc:sldMasterMk cId="284689217" sldId="2147483674"/>
            <ac:graphicFrameMk id="4" creationId="{62B117BF-C389-30DF-EB70-F0C7FEB99357}"/>
          </ac:graphicFrameMkLst>
        </pc:graphicFrameChg>
        <pc:cxnChg chg="add">
          <ac:chgData name="Aurelien Domont" userId="6da7715ce44349b3" providerId="LiveId" clId="{33278012-7ADE-41CB-9765-F81F8D5078C0}" dt="2022-10-14T01:30:37.198" v="344"/>
          <ac:cxnSpMkLst>
            <pc:docMk/>
            <pc:sldMasterMk cId="284689217" sldId="2147483674"/>
            <ac:cxnSpMk id="12" creationId="{FD2FE082-7FB6-1303-1295-8BB66CAC199F}"/>
          </ac:cxnSpMkLst>
        </pc:cxnChg>
        <pc:sldLayoutChg chg="addSp">
          <pc:chgData name="Aurelien Domont" userId="6da7715ce44349b3" providerId="LiveId" clId="{33278012-7ADE-41CB-9765-F81F8D5078C0}" dt="2022-10-14T01:30:37.198" v="344"/>
          <pc:sldLayoutMkLst>
            <pc:docMk/>
            <pc:sldMasterMk cId="284689217" sldId="2147483674"/>
            <pc:sldLayoutMk cId="2541625016" sldId="2147483675"/>
          </pc:sldLayoutMkLst>
          <pc:spChg chg="add">
            <ac:chgData name="Aurelien Domont" userId="6da7715ce44349b3" providerId="LiveId" clId="{33278012-7ADE-41CB-9765-F81F8D5078C0}" dt="2022-10-14T01:30:37.198" v="344"/>
            <ac:spMkLst>
              <pc:docMk/>
              <pc:sldMasterMk cId="284689217" sldId="2147483674"/>
              <pc:sldLayoutMk cId="2541625016" sldId="2147483675"/>
              <ac:spMk id="8" creationId="{FE096495-A4C2-62C5-F4E3-8880AFFE4012}"/>
            </ac:spMkLst>
          </pc:spChg>
        </pc:sldLayoutChg>
        <pc:sldLayoutChg chg="addSp">
          <pc:chgData name="Aurelien Domont" userId="6da7715ce44349b3" providerId="LiveId" clId="{33278012-7ADE-41CB-9765-F81F8D5078C0}" dt="2022-10-14T01:30:37.198" v="344"/>
          <pc:sldLayoutMkLst>
            <pc:docMk/>
            <pc:sldMasterMk cId="284689217" sldId="2147483674"/>
            <pc:sldLayoutMk cId="1037956826" sldId="2147483676"/>
          </pc:sldLayoutMkLst>
          <pc:spChg chg="add">
            <ac:chgData name="Aurelien Domont" userId="6da7715ce44349b3" providerId="LiveId" clId="{33278012-7ADE-41CB-9765-F81F8D5078C0}" dt="2022-10-14T01:30:37.198" v="344"/>
            <ac:spMkLst>
              <pc:docMk/>
              <pc:sldMasterMk cId="284689217" sldId="2147483674"/>
              <pc:sldLayoutMk cId="1037956826" sldId="2147483676"/>
              <ac:spMk id="4" creationId="{C9076471-FF17-0808-402D-6A37059924A4}"/>
            </ac:spMkLst>
          </pc:spChg>
          <pc:cxnChg chg="add">
            <ac:chgData name="Aurelien Domont" userId="6da7715ce44349b3" providerId="LiveId" clId="{33278012-7ADE-41CB-9765-F81F8D5078C0}" dt="2022-10-14T01:30:37.198" v="344"/>
            <ac:cxnSpMkLst>
              <pc:docMk/>
              <pc:sldMasterMk cId="284689217" sldId="2147483674"/>
              <pc:sldLayoutMk cId="1037956826" sldId="2147483676"/>
              <ac:cxnSpMk id="5" creationId="{25A31384-03F1-B669-A293-D417B073776F}"/>
            </ac:cxnSpMkLst>
          </pc:cxnChg>
        </pc:sldLayoutChg>
        <pc:sldLayoutChg chg="addSp">
          <pc:chgData name="Aurelien Domont" userId="6da7715ce44349b3" providerId="LiveId" clId="{33278012-7ADE-41CB-9765-F81F8D5078C0}" dt="2022-10-14T01:30:37.198" v="344"/>
          <pc:sldLayoutMkLst>
            <pc:docMk/>
            <pc:sldMasterMk cId="284689217" sldId="2147483674"/>
            <pc:sldLayoutMk cId="4067896363" sldId="2147483677"/>
          </pc:sldLayoutMkLst>
          <pc:spChg chg="add">
            <ac:chgData name="Aurelien Domont" userId="6da7715ce44349b3" providerId="LiveId" clId="{33278012-7ADE-41CB-9765-F81F8D5078C0}" dt="2022-10-14T01:30:37.198" v="344"/>
            <ac:spMkLst>
              <pc:docMk/>
              <pc:sldMasterMk cId="284689217" sldId="2147483674"/>
              <pc:sldLayoutMk cId="4067896363" sldId="2147483677"/>
              <ac:spMk id="6" creationId="{5856C6DC-25E7-8C5F-2185-17D241B3874C}"/>
            </ac:spMkLst>
          </pc:spChg>
          <pc:spChg chg="add">
            <ac:chgData name="Aurelien Domont" userId="6da7715ce44349b3" providerId="LiveId" clId="{33278012-7ADE-41CB-9765-F81F8D5078C0}" dt="2022-10-14T01:30:37.198" v="344"/>
            <ac:spMkLst>
              <pc:docMk/>
              <pc:sldMasterMk cId="284689217" sldId="2147483674"/>
              <pc:sldLayoutMk cId="4067896363" sldId="2147483677"/>
              <ac:spMk id="11" creationId="{A7B971AB-2329-868A-C6C2-9E73875E8F08}"/>
            </ac:spMkLst>
          </pc:spChg>
          <pc:graphicFrameChg chg="add">
            <ac:chgData name="Aurelien Domont" userId="6da7715ce44349b3" providerId="LiveId" clId="{33278012-7ADE-41CB-9765-F81F8D5078C0}" dt="2022-10-14T01:30:37.198" v="344"/>
            <ac:graphicFrameMkLst>
              <pc:docMk/>
              <pc:sldMasterMk cId="284689217" sldId="2147483674"/>
              <pc:sldLayoutMk cId="4067896363" sldId="2147483677"/>
              <ac:graphicFrameMk id="2" creationId="{E64DE3A7-B89E-BCE8-36E7-3C8CC23E16AE}"/>
            </ac:graphicFrameMkLst>
          </pc:graphicFrameChg>
          <pc:cxnChg chg="add">
            <ac:chgData name="Aurelien Domont" userId="6da7715ce44349b3" providerId="LiveId" clId="{33278012-7ADE-41CB-9765-F81F8D5078C0}" dt="2022-10-14T01:30:37.198" v="344"/>
            <ac:cxnSpMkLst>
              <pc:docMk/>
              <pc:sldMasterMk cId="284689217" sldId="2147483674"/>
              <pc:sldLayoutMk cId="4067896363" sldId="2147483677"/>
              <ac:cxnSpMk id="12" creationId="{745A6158-0DE2-1A70-BA45-D6D0790F9541}"/>
            </ac:cxnSpMkLst>
          </pc:cxnChg>
        </pc:sldLayoutChg>
        <pc:sldLayoutChg chg="addSp">
          <pc:chgData name="Aurelien Domont" userId="6da7715ce44349b3" providerId="LiveId" clId="{33278012-7ADE-41CB-9765-F81F8D5078C0}" dt="2022-10-14T01:30:37.198" v="344"/>
          <pc:sldLayoutMkLst>
            <pc:docMk/>
            <pc:sldMasterMk cId="284689217" sldId="2147483674"/>
            <pc:sldLayoutMk cId="744325272" sldId="2147483678"/>
          </pc:sldLayoutMkLst>
          <pc:spChg chg="add">
            <ac:chgData name="Aurelien Domont" userId="6da7715ce44349b3" providerId="LiveId" clId="{33278012-7ADE-41CB-9765-F81F8D5078C0}" dt="2022-10-14T01:30:37.198" v="344"/>
            <ac:spMkLst>
              <pc:docMk/>
              <pc:sldMasterMk cId="284689217" sldId="2147483674"/>
              <pc:sldLayoutMk cId="744325272" sldId="2147483678"/>
              <ac:spMk id="5" creationId="{42F54DB8-4BE6-0449-88CC-EB802ADB1337}"/>
            </ac:spMkLst>
          </pc:spChg>
          <pc:cxnChg chg="add">
            <ac:chgData name="Aurelien Domont" userId="6da7715ce44349b3" providerId="LiveId" clId="{33278012-7ADE-41CB-9765-F81F8D5078C0}" dt="2022-10-14T01:30:37.198" v="344"/>
            <ac:cxnSpMkLst>
              <pc:docMk/>
              <pc:sldMasterMk cId="284689217" sldId="2147483674"/>
              <pc:sldLayoutMk cId="744325272" sldId="2147483678"/>
              <ac:cxnSpMk id="6" creationId="{EE4D51A0-E480-3D09-DBFB-758E72CB0514}"/>
            </ac:cxnSpMkLst>
          </pc:cxnChg>
        </pc:sldLayoutChg>
        <pc:sldLayoutChg chg="addSp">
          <pc:chgData name="Aurelien Domont" userId="6da7715ce44349b3" providerId="LiveId" clId="{33278012-7ADE-41CB-9765-F81F8D5078C0}" dt="2022-10-14T01:30:37.198" v="344"/>
          <pc:sldLayoutMkLst>
            <pc:docMk/>
            <pc:sldMasterMk cId="284689217" sldId="2147483674"/>
            <pc:sldLayoutMk cId="2250081726" sldId="2147483679"/>
          </pc:sldLayoutMkLst>
          <pc:spChg chg="add">
            <ac:chgData name="Aurelien Domont" userId="6da7715ce44349b3" providerId="LiveId" clId="{33278012-7ADE-41CB-9765-F81F8D5078C0}" dt="2022-10-14T01:30:37.198" v="344"/>
            <ac:spMkLst>
              <pc:docMk/>
              <pc:sldMasterMk cId="284689217" sldId="2147483674"/>
              <pc:sldLayoutMk cId="2250081726" sldId="2147483679"/>
              <ac:spMk id="5" creationId="{79FDB22A-DE5C-1C1C-FC72-A1594ED10B10}"/>
            </ac:spMkLst>
          </pc:spChg>
          <pc:spChg chg="add">
            <ac:chgData name="Aurelien Domont" userId="6da7715ce44349b3" providerId="LiveId" clId="{33278012-7ADE-41CB-9765-F81F8D5078C0}" dt="2022-10-14T01:30:37.198" v="344"/>
            <ac:spMkLst>
              <pc:docMk/>
              <pc:sldMasterMk cId="284689217" sldId="2147483674"/>
              <pc:sldLayoutMk cId="2250081726" sldId="2147483679"/>
              <ac:spMk id="10" creationId="{10E8A35C-E1E4-B2F9-A715-329100A508C9}"/>
            </ac:spMkLst>
          </pc:spChg>
          <pc:cxnChg chg="add">
            <ac:chgData name="Aurelien Domont" userId="6da7715ce44349b3" providerId="LiveId" clId="{33278012-7ADE-41CB-9765-F81F8D5078C0}" dt="2022-10-14T01:30:37.198" v="344"/>
            <ac:cxnSpMkLst>
              <pc:docMk/>
              <pc:sldMasterMk cId="284689217" sldId="2147483674"/>
              <pc:sldLayoutMk cId="2250081726" sldId="2147483679"/>
              <ac:cxnSpMk id="6" creationId="{ED517F82-DF63-B5D5-E681-AC963BF1A056}"/>
            </ac:cxnSpMkLst>
          </pc:cxnChg>
        </pc:sldLayoutChg>
        <pc:sldLayoutChg chg="addSp">
          <pc:chgData name="Aurelien Domont" userId="6da7715ce44349b3" providerId="LiveId" clId="{33278012-7ADE-41CB-9765-F81F8D5078C0}" dt="2022-10-14T01:30:37.198" v="344"/>
          <pc:sldLayoutMkLst>
            <pc:docMk/>
            <pc:sldMasterMk cId="284689217" sldId="2147483674"/>
            <pc:sldLayoutMk cId="427094120" sldId="2147483680"/>
          </pc:sldLayoutMkLst>
          <pc:spChg chg="add">
            <ac:chgData name="Aurelien Domont" userId="6da7715ce44349b3" providerId="LiveId" clId="{33278012-7ADE-41CB-9765-F81F8D5078C0}" dt="2022-10-14T01:30:37.198" v="344"/>
            <ac:spMkLst>
              <pc:docMk/>
              <pc:sldMasterMk cId="284689217" sldId="2147483674"/>
              <pc:sldLayoutMk cId="427094120" sldId="2147483680"/>
              <ac:spMk id="4" creationId="{02F93B9D-0A3D-9ED7-E815-7679D5A3B73C}"/>
            </ac:spMkLst>
          </pc:spChg>
        </pc:sldLayoutChg>
        <pc:sldLayoutChg chg="addSp">
          <pc:chgData name="Aurelien Domont" userId="6da7715ce44349b3" providerId="LiveId" clId="{33278012-7ADE-41CB-9765-F81F8D5078C0}" dt="2022-10-14T01:30:37.198" v="344"/>
          <pc:sldLayoutMkLst>
            <pc:docMk/>
            <pc:sldMasterMk cId="284689217" sldId="2147483674"/>
            <pc:sldLayoutMk cId="614450064" sldId="2147483681"/>
          </pc:sldLayoutMkLst>
          <pc:spChg chg="add">
            <ac:chgData name="Aurelien Domont" userId="6da7715ce44349b3" providerId="LiveId" clId="{33278012-7ADE-41CB-9765-F81F8D5078C0}" dt="2022-10-14T01:30:37.198" v="344"/>
            <ac:spMkLst>
              <pc:docMk/>
              <pc:sldMasterMk cId="284689217" sldId="2147483674"/>
              <pc:sldLayoutMk cId="614450064" sldId="2147483681"/>
              <ac:spMk id="4" creationId="{7F189258-371D-1233-8041-C7590DD60705}"/>
            </ac:spMkLst>
          </pc:spChg>
        </pc:sldLayoutChg>
      </pc:sldMasterChg>
    </pc:docChg>
  </pc:docChgLst>
  <pc:docChgLst>
    <pc:chgData name="Aurelien Domont" userId="6da7715ce44349b3" providerId="LiveId" clId="{5849A233-2367-4204-AF70-4795CA91F062}"/>
    <pc:docChg chg="undo custSel addSld delSld modSld sldOrd">
      <pc:chgData name="Aurelien Domont" userId="6da7715ce44349b3" providerId="LiveId" clId="{5849A233-2367-4204-AF70-4795CA91F062}" dt="2022-08-19T00:00:02.515" v="220" actId="6549"/>
      <pc:docMkLst>
        <pc:docMk/>
      </pc:docMkLst>
      <pc:sldChg chg="addSp delSp modSp mod">
        <pc:chgData name="Aurelien Domont" userId="6da7715ce44349b3" providerId="LiveId" clId="{5849A233-2367-4204-AF70-4795CA91F062}" dt="2022-08-19T00:00:02.515" v="220" actId="6549"/>
        <pc:sldMkLst>
          <pc:docMk/>
          <pc:sldMk cId="3022188194" sldId="1518"/>
        </pc:sldMkLst>
        <pc:spChg chg="mod topLvl">
          <ac:chgData name="Aurelien Domont" userId="6da7715ce44349b3" providerId="LiveId" clId="{5849A233-2367-4204-AF70-4795CA91F062}" dt="2022-08-18T00:46:07.495" v="52" actId="165"/>
          <ac:spMkLst>
            <pc:docMk/>
            <pc:sldMk cId="3022188194" sldId="1518"/>
            <ac:spMk id="9" creationId="{D1E7C254-27E8-4C80-BD23-5AA385ED0BB0}"/>
          </ac:spMkLst>
        </pc:spChg>
        <pc:spChg chg="mod topLvl">
          <ac:chgData name="Aurelien Domont" userId="6da7715ce44349b3" providerId="LiveId" clId="{5849A233-2367-4204-AF70-4795CA91F062}" dt="2022-08-18T00:46:07.495" v="52" actId="165"/>
          <ac:spMkLst>
            <pc:docMk/>
            <pc:sldMk cId="3022188194" sldId="1518"/>
            <ac:spMk id="10" creationId="{667C03EA-83CA-40BE-AFCB-091FF55BE510}"/>
          </ac:spMkLst>
        </pc:spChg>
        <pc:spChg chg="mod">
          <ac:chgData name="Aurelien Domont" userId="6da7715ce44349b3" providerId="LiveId" clId="{5849A233-2367-4204-AF70-4795CA91F062}" dt="2022-08-19T00:00:02.515" v="220" actId="6549"/>
          <ac:spMkLst>
            <pc:docMk/>
            <pc:sldMk cId="3022188194" sldId="1518"/>
            <ac:spMk id="14" creationId="{C9800183-F524-4412-AB39-A6E1A21FF0B3}"/>
          </ac:spMkLst>
        </pc:spChg>
        <pc:spChg chg="mod topLvl">
          <ac:chgData name="Aurelien Domont" userId="6da7715ce44349b3" providerId="LiveId" clId="{5849A233-2367-4204-AF70-4795CA91F062}" dt="2022-08-18T00:46:07.495" v="52" actId="165"/>
          <ac:spMkLst>
            <pc:docMk/>
            <pc:sldMk cId="3022188194" sldId="1518"/>
            <ac:spMk id="15" creationId="{07CBBD6D-7032-4404-9B10-7EA5A7DC582E}"/>
          </ac:spMkLst>
        </pc:spChg>
        <pc:spChg chg="mod topLvl">
          <ac:chgData name="Aurelien Domont" userId="6da7715ce44349b3" providerId="LiveId" clId="{5849A233-2367-4204-AF70-4795CA91F062}" dt="2022-08-18T00:46:07.495" v="52" actId="165"/>
          <ac:spMkLst>
            <pc:docMk/>
            <pc:sldMk cId="3022188194" sldId="1518"/>
            <ac:spMk id="18" creationId="{5714E95A-480E-44A6-9C6B-8E577094B451}"/>
          </ac:spMkLst>
        </pc:spChg>
        <pc:spChg chg="mod topLvl">
          <ac:chgData name="Aurelien Domont" userId="6da7715ce44349b3" providerId="LiveId" clId="{5849A233-2367-4204-AF70-4795CA91F062}" dt="2022-08-18T00:46:07.495" v="52" actId="165"/>
          <ac:spMkLst>
            <pc:docMk/>
            <pc:sldMk cId="3022188194" sldId="1518"/>
            <ac:spMk id="25" creationId="{31B2B469-6C77-4E8E-913F-4D6148A073AE}"/>
          </ac:spMkLst>
        </pc:spChg>
        <pc:spChg chg="mod topLvl">
          <ac:chgData name="Aurelien Domont" userId="6da7715ce44349b3" providerId="LiveId" clId="{5849A233-2367-4204-AF70-4795CA91F062}" dt="2022-08-18T00:46:07.495" v="52" actId="165"/>
          <ac:spMkLst>
            <pc:docMk/>
            <pc:sldMk cId="3022188194" sldId="1518"/>
            <ac:spMk id="26" creationId="{D547C259-6BD4-4048-86EB-353F61DD9806}"/>
          </ac:spMkLst>
        </pc:spChg>
        <pc:spChg chg="mod topLvl">
          <ac:chgData name="Aurelien Domont" userId="6da7715ce44349b3" providerId="LiveId" clId="{5849A233-2367-4204-AF70-4795CA91F062}" dt="2022-08-18T00:46:07.495" v="52" actId="165"/>
          <ac:spMkLst>
            <pc:docMk/>
            <pc:sldMk cId="3022188194" sldId="1518"/>
            <ac:spMk id="27" creationId="{C1A96B1E-19C8-4270-8560-97DF46F2D829}"/>
          </ac:spMkLst>
        </pc:spChg>
        <pc:spChg chg="mod topLvl">
          <ac:chgData name="Aurelien Domont" userId="6da7715ce44349b3" providerId="LiveId" clId="{5849A233-2367-4204-AF70-4795CA91F062}" dt="2022-08-18T00:46:07.495" v="52" actId="165"/>
          <ac:spMkLst>
            <pc:docMk/>
            <pc:sldMk cId="3022188194" sldId="1518"/>
            <ac:spMk id="28" creationId="{B8523912-61A5-42E0-A4C6-5F91CF46C323}"/>
          </ac:spMkLst>
        </pc:spChg>
        <pc:spChg chg="mod topLvl">
          <ac:chgData name="Aurelien Domont" userId="6da7715ce44349b3" providerId="LiveId" clId="{5849A233-2367-4204-AF70-4795CA91F062}" dt="2022-08-18T00:46:07.495" v="52" actId="165"/>
          <ac:spMkLst>
            <pc:docMk/>
            <pc:sldMk cId="3022188194" sldId="1518"/>
            <ac:spMk id="29" creationId="{E2B7B902-0955-465D-ADB1-78D68C4C6E84}"/>
          </ac:spMkLst>
        </pc:spChg>
        <pc:spChg chg="mod topLvl">
          <ac:chgData name="Aurelien Domont" userId="6da7715ce44349b3" providerId="LiveId" clId="{5849A233-2367-4204-AF70-4795CA91F062}" dt="2022-08-18T00:46:07.495" v="52" actId="165"/>
          <ac:spMkLst>
            <pc:docMk/>
            <pc:sldMk cId="3022188194" sldId="1518"/>
            <ac:spMk id="30" creationId="{1C714F5A-006A-4CFF-B366-1FB2A5B2B3A8}"/>
          </ac:spMkLst>
        </pc:spChg>
        <pc:spChg chg="mod topLvl">
          <ac:chgData name="Aurelien Domont" userId="6da7715ce44349b3" providerId="LiveId" clId="{5849A233-2367-4204-AF70-4795CA91F062}" dt="2022-08-18T00:46:07.495" v="52" actId="165"/>
          <ac:spMkLst>
            <pc:docMk/>
            <pc:sldMk cId="3022188194" sldId="1518"/>
            <ac:spMk id="31" creationId="{249B6312-9B17-4728-855A-91A64BDE2A1C}"/>
          </ac:spMkLst>
        </pc:spChg>
        <pc:grpChg chg="add del mod">
          <ac:chgData name="Aurelien Domont" userId="6da7715ce44349b3" providerId="LiveId" clId="{5849A233-2367-4204-AF70-4795CA91F062}" dt="2022-08-18T00:46:07.495" v="52" actId="165"/>
          <ac:grpSpMkLst>
            <pc:docMk/>
            <pc:sldMk cId="3022188194" sldId="1518"/>
            <ac:grpSpMk id="21" creationId="{3F424979-E953-CD61-4CA9-1B3212BAAE49}"/>
          </ac:grpSpMkLst>
        </pc:grpChg>
        <pc:cxnChg chg="add mod topLvl">
          <ac:chgData name="Aurelien Domont" userId="6da7715ce44349b3" providerId="LiveId" clId="{5849A233-2367-4204-AF70-4795CA91F062}" dt="2022-08-18T00:46:07.495" v="52" actId="165"/>
          <ac:cxnSpMkLst>
            <pc:docMk/>
            <pc:sldMk cId="3022188194" sldId="1518"/>
            <ac:cxnSpMk id="3" creationId="{2CB1B0CA-5B7F-A308-9762-B655D3C167D9}"/>
          </ac:cxnSpMkLst>
        </pc:cxnChg>
        <pc:cxnChg chg="add mod topLvl">
          <ac:chgData name="Aurelien Domont" userId="6da7715ce44349b3" providerId="LiveId" clId="{5849A233-2367-4204-AF70-4795CA91F062}" dt="2022-08-18T00:46:07.495" v="52" actId="165"/>
          <ac:cxnSpMkLst>
            <pc:docMk/>
            <pc:sldMk cId="3022188194" sldId="1518"/>
            <ac:cxnSpMk id="5" creationId="{C7BAD7C9-3FA0-7628-23B0-D9EE4338D0AF}"/>
          </ac:cxnSpMkLst>
        </pc:cxnChg>
        <pc:cxnChg chg="add mod topLvl">
          <ac:chgData name="Aurelien Domont" userId="6da7715ce44349b3" providerId="LiveId" clId="{5849A233-2367-4204-AF70-4795CA91F062}" dt="2022-08-18T00:46:07.495" v="52" actId="165"/>
          <ac:cxnSpMkLst>
            <pc:docMk/>
            <pc:sldMk cId="3022188194" sldId="1518"/>
            <ac:cxnSpMk id="7" creationId="{7D59F007-DDA2-4993-BD81-D32F4E7B5F8F}"/>
          </ac:cxnSpMkLst>
        </pc:cxnChg>
        <pc:cxnChg chg="add mod topLvl">
          <ac:chgData name="Aurelien Domont" userId="6da7715ce44349b3" providerId="LiveId" clId="{5849A233-2367-4204-AF70-4795CA91F062}" dt="2022-08-18T00:46:07.495" v="52" actId="165"/>
          <ac:cxnSpMkLst>
            <pc:docMk/>
            <pc:sldMk cId="3022188194" sldId="1518"/>
            <ac:cxnSpMk id="11" creationId="{666041EA-8A55-442F-7EB3-3EDE3793D847}"/>
          </ac:cxnSpMkLst>
        </pc:cxnChg>
        <pc:cxnChg chg="add mod topLvl">
          <ac:chgData name="Aurelien Domont" userId="6da7715ce44349b3" providerId="LiveId" clId="{5849A233-2367-4204-AF70-4795CA91F062}" dt="2022-08-18T00:46:07.495" v="52" actId="165"/>
          <ac:cxnSpMkLst>
            <pc:docMk/>
            <pc:sldMk cId="3022188194" sldId="1518"/>
            <ac:cxnSpMk id="13" creationId="{293AE5F5-F765-1AF7-69A4-F6E7B550A3C8}"/>
          </ac:cxnSpMkLst>
        </pc:cxnChg>
        <pc:cxnChg chg="add mod topLvl">
          <ac:chgData name="Aurelien Domont" userId="6da7715ce44349b3" providerId="LiveId" clId="{5849A233-2367-4204-AF70-4795CA91F062}" dt="2022-08-18T00:46:07.495" v="52" actId="165"/>
          <ac:cxnSpMkLst>
            <pc:docMk/>
            <pc:sldMk cId="3022188194" sldId="1518"/>
            <ac:cxnSpMk id="20" creationId="{1D2B1588-AA7D-6F3A-F8E3-CDDFE84790D8}"/>
          </ac:cxnSpMkLst>
        </pc:cxnChg>
      </pc:sldChg>
      <pc:sldChg chg="del">
        <pc:chgData name="Aurelien Domont" userId="6da7715ce44349b3" providerId="LiveId" clId="{5849A233-2367-4204-AF70-4795CA91F062}" dt="2022-08-18T00:56:26.974" v="53" actId="47"/>
        <pc:sldMkLst>
          <pc:docMk/>
          <pc:sldMk cId="1754585881" sldId="1598"/>
        </pc:sldMkLst>
      </pc:sldChg>
      <pc:sldChg chg="del">
        <pc:chgData name="Aurelien Domont" userId="6da7715ce44349b3" providerId="LiveId" clId="{5849A233-2367-4204-AF70-4795CA91F062}" dt="2022-08-18T00:56:26.974" v="53" actId="47"/>
        <pc:sldMkLst>
          <pc:docMk/>
          <pc:sldMk cId="2853806433" sldId="1600"/>
        </pc:sldMkLst>
      </pc:sldChg>
      <pc:sldChg chg="del">
        <pc:chgData name="Aurelien Domont" userId="6da7715ce44349b3" providerId="LiveId" clId="{5849A233-2367-4204-AF70-4795CA91F062}" dt="2022-08-18T00:58:56.300" v="141" actId="47"/>
        <pc:sldMkLst>
          <pc:docMk/>
          <pc:sldMk cId="2522524554" sldId="1641"/>
        </pc:sldMkLst>
      </pc:sldChg>
      <pc:sldChg chg="del">
        <pc:chgData name="Aurelien Domont" userId="6da7715ce44349b3" providerId="LiveId" clId="{5849A233-2367-4204-AF70-4795CA91F062}" dt="2022-08-18T00:59:01.065" v="142" actId="47"/>
        <pc:sldMkLst>
          <pc:docMk/>
          <pc:sldMk cId="3028313906" sldId="1642"/>
        </pc:sldMkLst>
      </pc:sldChg>
      <pc:sldChg chg="del">
        <pc:chgData name="Aurelien Domont" userId="6da7715ce44349b3" providerId="LiveId" clId="{5849A233-2367-4204-AF70-4795CA91F062}" dt="2022-08-18T00:59:04.722" v="143" actId="47"/>
        <pc:sldMkLst>
          <pc:docMk/>
          <pc:sldMk cId="1915463839" sldId="1643"/>
        </pc:sldMkLst>
      </pc:sldChg>
      <pc:sldChg chg="modSp del mod">
        <pc:chgData name="Aurelien Domont" userId="6da7715ce44349b3" providerId="LiveId" clId="{5849A233-2367-4204-AF70-4795CA91F062}" dt="2022-08-18T01:00:39.697" v="149" actId="47"/>
        <pc:sldMkLst>
          <pc:docMk/>
          <pc:sldMk cId="285097367" sldId="1644"/>
        </pc:sldMkLst>
        <pc:spChg chg="mod">
          <ac:chgData name="Aurelien Domont" userId="6da7715ce44349b3" providerId="LiveId" clId="{5849A233-2367-4204-AF70-4795CA91F062}" dt="2022-08-18T00:59:29.960" v="145" actId="20577"/>
          <ac:spMkLst>
            <pc:docMk/>
            <pc:sldMk cId="285097367" sldId="1644"/>
            <ac:spMk id="28" creationId="{A86F20E4-8EFF-47F7-A1EB-E0EFD26C77AA}"/>
          </ac:spMkLst>
        </pc:spChg>
      </pc:sldChg>
      <pc:sldChg chg="del">
        <pc:chgData name="Aurelien Domont" userId="6da7715ce44349b3" providerId="LiveId" clId="{5849A233-2367-4204-AF70-4795CA91F062}" dt="2022-08-18T01:00:32.110" v="148" actId="47"/>
        <pc:sldMkLst>
          <pc:docMk/>
          <pc:sldMk cId="1886465646" sldId="1645"/>
        </pc:sldMkLst>
      </pc:sldChg>
      <pc:sldChg chg="del">
        <pc:chgData name="Aurelien Domont" userId="6da7715ce44349b3" providerId="LiveId" clId="{5849A233-2367-4204-AF70-4795CA91F062}" dt="2022-08-18T01:05:46.142" v="213" actId="47"/>
        <pc:sldMkLst>
          <pc:docMk/>
          <pc:sldMk cId="610480051" sldId="1646"/>
        </pc:sldMkLst>
      </pc:sldChg>
      <pc:sldChg chg="del">
        <pc:chgData name="Aurelien Domont" userId="6da7715ce44349b3" providerId="LiveId" clId="{5849A233-2367-4204-AF70-4795CA91F062}" dt="2022-08-18T01:00:08.147" v="147" actId="47"/>
        <pc:sldMkLst>
          <pc:docMk/>
          <pc:sldMk cId="1287530608" sldId="1647"/>
        </pc:sldMkLst>
      </pc:sldChg>
      <pc:sldChg chg="del">
        <pc:chgData name="Aurelien Domont" userId="6da7715ce44349b3" providerId="LiveId" clId="{5849A233-2367-4204-AF70-4795CA91F062}" dt="2022-08-18T00:56:26.974" v="53" actId="47"/>
        <pc:sldMkLst>
          <pc:docMk/>
          <pc:sldMk cId="1252826214" sldId="1711"/>
        </pc:sldMkLst>
      </pc:sldChg>
      <pc:sldChg chg="addSp delSp modSp mod">
        <pc:chgData name="Aurelien Domont" userId="6da7715ce44349b3" providerId="LiveId" clId="{5849A233-2367-4204-AF70-4795CA91F062}" dt="2022-08-18T01:05:27.353" v="212" actId="1076"/>
        <pc:sldMkLst>
          <pc:docMk/>
          <pc:sldMk cId="3879198551" sldId="1854"/>
        </pc:sldMkLst>
        <pc:spChg chg="add mod ord">
          <ac:chgData name="Aurelien Domont" userId="6da7715ce44349b3" providerId="LiveId" clId="{5849A233-2367-4204-AF70-4795CA91F062}" dt="2022-08-18T01:05:27.353" v="212" actId="1076"/>
          <ac:spMkLst>
            <pc:docMk/>
            <pc:sldMk cId="3879198551" sldId="1854"/>
            <ac:spMk id="2" creationId="{93167E58-D9D2-5417-A1CC-83D6A181A875}"/>
          </ac:spMkLst>
        </pc:spChg>
        <pc:spChg chg="add del mod">
          <ac:chgData name="Aurelien Domont" userId="6da7715ce44349b3" providerId="LiveId" clId="{5849A233-2367-4204-AF70-4795CA91F062}" dt="2022-08-18T01:02:56.504" v="157" actId="478"/>
          <ac:spMkLst>
            <pc:docMk/>
            <pc:sldMk cId="3879198551" sldId="1854"/>
            <ac:spMk id="3" creationId="{159C56D7-48E9-0BB0-C2FE-8A18830D2344}"/>
          </ac:spMkLst>
        </pc:spChg>
        <pc:spChg chg="mod">
          <ac:chgData name="Aurelien Domont" userId="6da7715ce44349b3" providerId="LiveId" clId="{5849A233-2367-4204-AF70-4795CA91F062}" dt="2022-08-18T01:04:17.285" v="185" actId="207"/>
          <ac:spMkLst>
            <pc:docMk/>
            <pc:sldMk cId="3879198551" sldId="1854"/>
            <ac:spMk id="5" creationId="{09A6DAB9-C40B-E83E-7555-E3A6E5D40F21}"/>
          </ac:spMkLst>
        </pc:spChg>
        <pc:spChg chg="mod">
          <ac:chgData name="Aurelien Domont" userId="6da7715ce44349b3" providerId="LiveId" clId="{5849A233-2367-4204-AF70-4795CA91F062}" dt="2022-08-18T01:04:17.285" v="185" actId="207"/>
          <ac:spMkLst>
            <pc:docMk/>
            <pc:sldMk cId="3879198551" sldId="1854"/>
            <ac:spMk id="6" creationId="{A87FE83C-F549-A155-974A-430978F94D7A}"/>
          </ac:spMkLst>
        </pc:spChg>
        <pc:spChg chg="mod">
          <ac:chgData name="Aurelien Domont" userId="6da7715ce44349b3" providerId="LiveId" clId="{5849A233-2367-4204-AF70-4795CA91F062}" dt="2022-08-18T01:04:17.285" v="185" actId="207"/>
          <ac:spMkLst>
            <pc:docMk/>
            <pc:sldMk cId="3879198551" sldId="1854"/>
            <ac:spMk id="9" creationId="{D54BFB71-B620-BA55-5723-82CDF0F74961}"/>
          </ac:spMkLst>
        </pc:spChg>
        <pc:spChg chg="mod">
          <ac:chgData name="Aurelien Domont" userId="6da7715ce44349b3" providerId="LiveId" clId="{5849A233-2367-4204-AF70-4795CA91F062}" dt="2022-08-18T01:04:17.285" v="185" actId="207"/>
          <ac:spMkLst>
            <pc:docMk/>
            <pc:sldMk cId="3879198551" sldId="1854"/>
            <ac:spMk id="10" creationId="{2854B74A-D6D9-1E5A-9EDB-CF6E67BE10A1}"/>
          </ac:spMkLst>
        </pc:spChg>
        <pc:spChg chg="add del mod ord">
          <ac:chgData name="Aurelien Domont" userId="6da7715ce44349b3" providerId="LiveId" clId="{5849A233-2367-4204-AF70-4795CA91F062}" dt="2022-08-18T01:04:55.820" v="199" actId="478"/>
          <ac:spMkLst>
            <pc:docMk/>
            <pc:sldMk cId="3879198551" sldId="1854"/>
            <ac:spMk id="11" creationId="{7F714941-797A-E5A4-8BCB-920F04EFDA7D}"/>
          </ac:spMkLst>
        </pc:spChg>
        <pc:spChg chg="add mod">
          <ac:chgData name="Aurelien Domont" userId="6da7715ce44349b3" providerId="LiveId" clId="{5849A233-2367-4204-AF70-4795CA91F062}" dt="2022-08-18T01:05:23.788" v="211" actId="14100"/>
          <ac:spMkLst>
            <pc:docMk/>
            <pc:sldMk cId="3879198551" sldId="1854"/>
            <ac:spMk id="12" creationId="{DC8DC27F-5D3B-EEEC-109C-4E64A9356F78}"/>
          </ac:spMkLst>
        </pc:spChg>
        <pc:spChg chg="add mod">
          <ac:chgData name="Aurelien Domont" userId="6da7715ce44349b3" providerId="LiveId" clId="{5849A233-2367-4204-AF70-4795CA91F062}" dt="2022-08-18T01:05:13.630" v="208" actId="1076"/>
          <ac:spMkLst>
            <pc:docMk/>
            <pc:sldMk cId="3879198551" sldId="1854"/>
            <ac:spMk id="13" creationId="{17DB53B2-9FE4-CD0A-2D84-178D21FE0108}"/>
          </ac:spMkLst>
        </pc:spChg>
        <pc:spChg chg="add del mod">
          <ac:chgData name="Aurelien Domont" userId="6da7715ce44349b3" providerId="LiveId" clId="{5849A233-2367-4204-AF70-4795CA91F062}" dt="2022-08-18T01:04:44.578" v="193"/>
          <ac:spMkLst>
            <pc:docMk/>
            <pc:sldMk cId="3879198551" sldId="1854"/>
            <ac:spMk id="15" creationId="{846B7826-C3B0-0D19-3EE7-92905B0FE600}"/>
          </ac:spMkLst>
        </pc:spChg>
        <pc:spChg chg="del">
          <ac:chgData name="Aurelien Domont" userId="6da7715ce44349b3" providerId="LiveId" clId="{5849A233-2367-4204-AF70-4795CA91F062}" dt="2022-08-18T01:00:57.108" v="150" actId="478"/>
          <ac:spMkLst>
            <pc:docMk/>
            <pc:sldMk cId="3879198551" sldId="1854"/>
            <ac:spMk id="41" creationId="{CDAC5E1B-649F-44B2-9B6A-55DFC5F981F5}"/>
          </ac:spMkLst>
        </pc:spChg>
        <pc:grpChg chg="add mod ord">
          <ac:chgData name="Aurelien Domont" userId="6da7715ce44349b3" providerId="LiveId" clId="{5849A233-2367-4204-AF70-4795CA91F062}" dt="2022-08-18T01:04:17.285" v="185" actId="207"/>
          <ac:grpSpMkLst>
            <pc:docMk/>
            <pc:sldMk cId="3879198551" sldId="1854"/>
            <ac:grpSpMk id="4" creationId="{3C928F0B-D43A-1F87-6DA2-10C647C117F9}"/>
          </ac:grpSpMkLst>
        </pc:grpChg>
        <pc:cxnChg chg="mod">
          <ac:chgData name="Aurelien Domont" userId="6da7715ce44349b3" providerId="LiveId" clId="{5849A233-2367-4204-AF70-4795CA91F062}" dt="2022-08-18T01:04:17.285" v="185" actId="207"/>
          <ac:cxnSpMkLst>
            <pc:docMk/>
            <pc:sldMk cId="3879198551" sldId="1854"/>
            <ac:cxnSpMk id="7" creationId="{B15545D0-6857-C2BC-4C44-A0845796D7DC}"/>
          </ac:cxnSpMkLst>
        </pc:cxnChg>
      </pc:sldChg>
      <pc:sldChg chg="modSp mod">
        <pc:chgData name="Aurelien Domont" userId="6da7715ce44349b3" providerId="LiveId" clId="{5849A233-2367-4204-AF70-4795CA91F062}" dt="2022-08-18T01:00:03.623" v="146" actId="20577"/>
        <pc:sldMkLst>
          <pc:docMk/>
          <pc:sldMk cId="1264531518" sldId="1855"/>
        </pc:sldMkLst>
        <pc:spChg chg="mod">
          <ac:chgData name="Aurelien Domont" userId="6da7715ce44349b3" providerId="LiveId" clId="{5849A233-2367-4204-AF70-4795CA91F062}" dt="2022-08-18T01:00:03.623" v="146" actId="20577"/>
          <ac:spMkLst>
            <pc:docMk/>
            <pc:sldMk cId="1264531518" sldId="1855"/>
            <ac:spMk id="41" creationId="{CDAC5E1B-649F-44B2-9B6A-55DFC5F981F5}"/>
          </ac:spMkLst>
        </pc:spChg>
      </pc:sldChg>
      <pc:sldChg chg="del">
        <pc:chgData name="Aurelien Domont" userId="6da7715ce44349b3" providerId="LiveId" clId="{5849A233-2367-4204-AF70-4795CA91F062}" dt="2022-08-18T00:56:26.974" v="53" actId="47"/>
        <pc:sldMkLst>
          <pc:docMk/>
          <pc:sldMk cId="3938337455" sldId="2034"/>
        </pc:sldMkLst>
      </pc:sldChg>
      <pc:sldChg chg="del">
        <pc:chgData name="Aurelien Domont" userId="6da7715ce44349b3" providerId="LiveId" clId="{5849A233-2367-4204-AF70-4795CA91F062}" dt="2022-08-18T00:56:26.974" v="53" actId="47"/>
        <pc:sldMkLst>
          <pc:docMk/>
          <pc:sldMk cId="1926619926" sldId="2147"/>
        </pc:sldMkLst>
      </pc:sldChg>
      <pc:sldChg chg="del">
        <pc:chgData name="Aurelien Domont" userId="6da7715ce44349b3" providerId="LiveId" clId="{5849A233-2367-4204-AF70-4795CA91F062}" dt="2022-08-18T00:56:26.974" v="53" actId="47"/>
        <pc:sldMkLst>
          <pc:docMk/>
          <pc:sldMk cId="2721199826" sldId="2239"/>
        </pc:sldMkLst>
      </pc:sldChg>
      <pc:sldChg chg="add">
        <pc:chgData name="Aurelien Domont" userId="6da7715ce44349b3" providerId="LiveId" clId="{5849A233-2367-4204-AF70-4795CA91F062}" dt="2022-08-18T00:56:28.053" v="54"/>
        <pc:sldMkLst>
          <pc:docMk/>
          <pc:sldMk cId="1754585881" sldId="2423"/>
        </pc:sldMkLst>
      </pc:sldChg>
      <pc:sldChg chg="add">
        <pc:chgData name="Aurelien Domont" userId="6da7715ce44349b3" providerId="LiveId" clId="{5849A233-2367-4204-AF70-4795CA91F062}" dt="2022-08-18T00:56:28.053" v="54"/>
        <pc:sldMkLst>
          <pc:docMk/>
          <pc:sldMk cId="748962572" sldId="2424"/>
        </pc:sldMkLst>
      </pc:sldChg>
      <pc:sldChg chg="add">
        <pc:chgData name="Aurelien Domont" userId="6da7715ce44349b3" providerId="LiveId" clId="{5849A233-2367-4204-AF70-4795CA91F062}" dt="2022-08-18T00:56:28.053" v="54"/>
        <pc:sldMkLst>
          <pc:docMk/>
          <pc:sldMk cId="2853806433" sldId="2425"/>
        </pc:sldMkLst>
      </pc:sldChg>
      <pc:sldChg chg="modSp add mod ord">
        <pc:chgData name="Aurelien Domont" userId="6da7715ce44349b3" providerId="LiveId" clId="{5849A233-2367-4204-AF70-4795CA91F062}" dt="2022-08-18T00:58:45.638" v="140" actId="20577"/>
        <pc:sldMkLst>
          <pc:docMk/>
          <pc:sldMk cId="1876858990" sldId="2426"/>
        </pc:sldMkLst>
        <pc:spChg chg="mod">
          <ac:chgData name="Aurelien Domont" userId="6da7715ce44349b3" providerId="LiveId" clId="{5849A233-2367-4204-AF70-4795CA91F062}" dt="2022-08-18T00:58:45.638" v="140" actId="20577"/>
          <ac:spMkLst>
            <pc:docMk/>
            <pc:sldMk cId="1876858990" sldId="2426"/>
            <ac:spMk id="41" creationId="{CDAC5E1B-649F-44B2-9B6A-55DFC5F981F5}"/>
          </ac:spMkLst>
        </pc:spChg>
      </pc:sldChg>
    </pc:docChg>
  </pc:docChgLst>
  <pc:docChgLst>
    <pc:chgData name="Aurelien Domont" userId="6da7715ce44349b3" providerId="LiveId" clId="{883A02D9-65FD-4AC4-BE4C-AB7977F3327F}"/>
    <pc:docChg chg="custSel addSld delSld modSld">
      <pc:chgData name="Aurelien Domont" userId="6da7715ce44349b3" providerId="LiveId" clId="{883A02D9-65FD-4AC4-BE4C-AB7977F3327F}" dt="2023-01-30T05:30:53.438" v="4"/>
      <pc:docMkLst>
        <pc:docMk/>
      </pc:docMkLst>
      <pc:sldChg chg="addSp delSp modSp mod">
        <pc:chgData name="Aurelien Domont" userId="6da7715ce44349b3" providerId="LiveId" clId="{883A02D9-65FD-4AC4-BE4C-AB7977F3327F}" dt="2023-01-30T05:21:35.999" v="1"/>
        <pc:sldMkLst>
          <pc:docMk/>
          <pc:sldMk cId="3131901387" sldId="256"/>
        </pc:sldMkLst>
        <pc:picChg chg="del">
          <ac:chgData name="Aurelien Domont" userId="6da7715ce44349b3" providerId="LiveId" clId="{883A02D9-65FD-4AC4-BE4C-AB7977F3327F}" dt="2023-01-30T05:21:35.823" v="0" actId="478"/>
          <ac:picMkLst>
            <pc:docMk/>
            <pc:sldMk cId="3131901387" sldId="256"/>
            <ac:picMk id="7" creationId="{56F6D9FE-2BD8-43FA-8517-544E7B92AA1A}"/>
          </ac:picMkLst>
        </pc:picChg>
        <pc:picChg chg="add mod">
          <ac:chgData name="Aurelien Domont" userId="6da7715ce44349b3" providerId="LiveId" clId="{883A02D9-65FD-4AC4-BE4C-AB7977F3327F}" dt="2023-01-30T05:21:35.999" v="1"/>
          <ac:picMkLst>
            <pc:docMk/>
            <pc:sldMk cId="3131901387" sldId="256"/>
            <ac:picMk id="12" creationId="{787CD3C7-F72B-B60E-D046-10D361531315}"/>
          </ac:picMkLst>
        </pc:picChg>
      </pc:sldChg>
      <pc:sldChg chg="add">
        <pc:chgData name="Aurelien Domont" userId="6da7715ce44349b3" providerId="LiveId" clId="{883A02D9-65FD-4AC4-BE4C-AB7977F3327F}" dt="2023-01-30T05:30:53.438" v="4"/>
        <pc:sldMkLst>
          <pc:docMk/>
          <pc:sldMk cId="1754585881" sldId="1598"/>
        </pc:sldMkLst>
      </pc:sldChg>
      <pc:sldChg chg="add">
        <pc:chgData name="Aurelien Domont" userId="6da7715ce44349b3" providerId="LiveId" clId="{883A02D9-65FD-4AC4-BE4C-AB7977F3327F}" dt="2023-01-30T05:30:53.438" v="4"/>
        <pc:sldMkLst>
          <pc:docMk/>
          <pc:sldMk cId="1289725493" sldId="2149"/>
        </pc:sldMkLst>
      </pc:sldChg>
      <pc:sldChg chg="del">
        <pc:chgData name="Aurelien Domont" userId="6da7715ce44349b3" providerId="LiveId" clId="{883A02D9-65FD-4AC4-BE4C-AB7977F3327F}" dt="2023-01-30T05:30:52.197" v="3" actId="47"/>
        <pc:sldMkLst>
          <pc:docMk/>
          <pc:sldMk cId="1754585881" sldId="2423"/>
        </pc:sldMkLst>
      </pc:sldChg>
      <pc:sldChg chg="del">
        <pc:chgData name="Aurelien Domont" userId="6da7715ce44349b3" providerId="LiveId" clId="{883A02D9-65FD-4AC4-BE4C-AB7977F3327F}" dt="2023-01-30T05:30:52.197" v="3" actId="47"/>
        <pc:sldMkLst>
          <pc:docMk/>
          <pc:sldMk cId="748962572" sldId="2424"/>
        </pc:sldMkLst>
      </pc:sldChg>
      <pc:sldChg chg="del">
        <pc:chgData name="Aurelien Domont" userId="6da7715ce44349b3" providerId="LiveId" clId="{883A02D9-65FD-4AC4-BE4C-AB7977F3327F}" dt="2023-01-30T05:30:48.896" v="2" actId="47"/>
        <pc:sldMkLst>
          <pc:docMk/>
          <pc:sldMk cId="2853806433" sldId="2425"/>
        </pc:sldMkLst>
      </pc:sldChg>
    </pc:docChg>
  </pc:docChgLst>
  <pc:docChgLst>
    <pc:chgData name="Aurelien Domont" userId="6da7715ce44349b3" providerId="LiveId" clId="{3873675B-E5D3-4C32-8913-7DF0841991F9}"/>
    <pc:docChg chg="custSel addSld delSld modSld">
      <pc:chgData name="Aurelien Domont" userId="6da7715ce44349b3" providerId="LiveId" clId="{3873675B-E5D3-4C32-8913-7DF0841991F9}" dt="2020-09-24T07:30:33.641" v="481" actId="14100"/>
      <pc:docMkLst>
        <pc:docMk/>
      </pc:docMkLst>
      <pc:sldChg chg="del">
        <pc:chgData name="Aurelien Domont" userId="6da7715ce44349b3" providerId="LiveId" clId="{3873675B-E5D3-4C32-8913-7DF0841991F9}" dt="2020-09-24T07:16:24.106" v="1" actId="47"/>
        <pc:sldMkLst>
          <pc:docMk/>
          <pc:sldMk cId="1048030620" sldId="1516"/>
        </pc:sldMkLst>
      </pc:sldChg>
      <pc:sldChg chg="addSp delSp modSp mod">
        <pc:chgData name="Aurelien Domont" userId="6da7715ce44349b3" providerId="LiveId" clId="{3873675B-E5D3-4C32-8913-7DF0841991F9}" dt="2020-09-24T07:28:53.373" v="462" actId="208"/>
        <pc:sldMkLst>
          <pc:docMk/>
          <pc:sldMk cId="3022188194" sldId="1518"/>
        </pc:sldMkLst>
        <pc:spChg chg="add mod">
          <ac:chgData name="Aurelien Domont" userId="6da7715ce44349b3" providerId="LiveId" clId="{3873675B-E5D3-4C32-8913-7DF0841991F9}" dt="2020-09-24T07:26:14.529" v="289" actId="14100"/>
          <ac:spMkLst>
            <pc:docMk/>
            <pc:sldMk cId="3022188194" sldId="1518"/>
            <ac:spMk id="9" creationId="{D1E7C254-27E8-4C80-BD23-5AA385ED0BB0}"/>
          </ac:spMkLst>
        </pc:spChg>
        <pc:spChg chg="add mod">
          <ac:chgData name="Aurelien Domont" userId="6da7715ce44349b3" providerId="LiveId" clId="{3873675B-E5D3-4C32-8913-7DF0841991F9}" dt="2020-09-24T07:28:25.733" v="445" actId="14100"/>
          <ac:spMkLst>
            <pc:docMk/>
            <pc:sldMk cId="3022188194" sldId="1518"/>
            <ac:spMk id="10" creationId="{667C03EA-83CA-40BE-AFCB-091FF55BE510}"/>
          </ac:spMkLst>
        </pc:spChg>
        <pc:spChg chg="add del mod">
          <ac:chgData name="Aurelien Domont" userId="6da7715ce44349b3" providerId="LiveId" clId="{3873675B-E5D3-4C32-8913-7DF0841991F9}" dt="2020-09-24T07:26:01.930" v="285" actId="478"/>
          <ac:spMkLst>
            <pc:docMk/>
            <pc:sldMk cId="3022188194" sldId="1518"/>
            <ac:spMk id="11" creationId="{DA6E4B53-DC27-41A7-9115-8DFB96E500EA}"/>
          </ac:spMkLst>
        </pc:spChg>
        <pc:spChg chg="add del mod">
          <ac:chgData name="Aurelien Domont" userId="6da7715ce44349b3" providerId="LiveId" clId="{3873675B-E5D3-4C32-8913-7DF0841991F9}" dt="2020-09-24T07:26:01.930" v="285" actId="478"/>
          <ac:spMkLst>
            <pc:docMk/>
            <pc:sldMk cId="3022188194" sldId="1518"/>
            <ac:spMk id="12" creationId="{AE06A770-41BD-4B4A-BE90-319B5154AD0B}"/>
          </ac:spMkLst>
        </pc:spChg>
        <pc:spChg chg="add del mod">
          <ac:chgData name="Aurelien Domont" userId="6da7715ce44349b3" providerId="LiveId" clId="{3873675B-E5D3-4C32-8913-7DF0841991F9}" dt="2020-09-24T07:26:24.081" v="293" actId="478"/>
          <ac:spMkLst>
            <pc:docMk/>
            <pc:sldMk cId="3022188194" sldId="1518"/>
            <ac:spMk id="13" creationId="{323510EF-0BCD-47A5-82D1-FBC7033C1A4D}"/>
          </ac:spMkLst>
        </pc:spChg>
        <pc:spChg chg="mod">
          <ac:chgData name="Aurelien Domont" userId="6da7715ce44349b3" providerId="LiveId" clId="{3873675B-E5D3-4C32-8913-7DF0841991F9}" dt="2020-09-24T07:22:46.869" v="221" actId="20577"/>
          <ac:spMkLst>
            <pc:docMk/>
            <pc:sldMk cId="3022188194" sldId="1518"/>
            <ac:spMk id="14" creationId="{C9800183-F524-4412-AB39-A6E1A21FF0B3}"/>
          </ac:spMkLst>
        </pc:spChg>
        <pc:spChg chg="add mod">
          <ac:chgData name="Aurelien Domont" userId="6da7715ce44349b3" providerId="LiveId" clId="{3873675B-E5D3-4C32-8913-7DF0841991F9}" dt="2020-09-24T07:28:35.643" v="460" actId="20577"/>
          <ac:spMkLst>
            <pc:docMk/>
            <pc:sldMk cId="3022188194" sldId="1518"/>
            <ac:spMk id="15" creationId="{07CBBD6D-7032-4404-9B10-7EA5A7DC582E}"/>
          </ac:spMkLst>
        </pc:spChg>
        <pc:spChg chg="add mod">
          <ac:chgData name="Aurelien Domont" userId="6da7715ce44349b3" providerId="LiveId" clId="{3873675B-E5D3-4C32-8913-7DF0841991F9}" dt="2020-09-24T07:26:20.923" v="292" actId="403"/>
          <ac:spMkLst>
            <pc:docMk/>
            <pc:sldMk cId="3022188194" sldId="1518"/>
            <ac:spMk id="18" creationId="{5714E95A-480E-44A6-9C6B-8E577094B451}"/>
          </ac:spMkLst>
        </pc:spChg>
        <pc:spChg chg="add del mod">
          <ac:chgData name="Aurelien Domont" userId="6da7715ce44349b3" providerId="LiveId" clId="{3873675B-E5D3-4C32-8913-7DF0841991F9}" dt="2020-09-24T07:26:01.930" v="285" actId="478"/>
          <ac:spMkLst>
            <pc:docMk/>
            <pc:sldMk cId="3022188194" sldId="1518"/>
            <ac:spMk id="19" creationId="{2F2D61E4-398F-4269-B507-C30BBB5D6D8F}"/>
          </ac:spMkLst>
        </pc:spChg>
        <pc:spChg chg="add del mod">
          <ac:chgData name="Aurelien Domont" userId="6da7715ce44349b3" providerId="LiveId" clId="{3873675B-E5D3-4C32-8913-7DF0841991F9}" dt="2020-09-24T07:26:27.051" v="294" actId="478"/>
          <ac:spMkLst>
            <pc:docMk/>
            <pc:sldMk cId="3022188194" sldId="1518"/>
            <ac:spMk id="20" creationId="{0CB9EFD2-A59B-4A1B-8E6D-DF3633B72898}"/>
          </ac:spMkLst>
        </pc:spChg>
        <pc:spChg chg="add del mod">
          <ac:chgData name="Aurelien Domont" userId="6da7715ce44349b3" providerId="LiveId" clId="{3873675B-E5D3-4C32-8913-7DF0841991F9}" dt="2020-09-24T07:24:02.854" v="258" actId="478"/>
          <ac:spMkLst>
            <pc:docMk/>
            <pc:sldMk cId="3022188194" sldId="1518"/>
            <ac:spMk id="21" creationId="{CE812983-A827-418A-B49C-BC1281D13EC3}"/>
          </ac:spMkLst>
        </pc:spChg>
        <pc:spChg chg="add mod">
          <ac:chgData name="Aurelien Domont" userId="6da7715ce44349b3" providerId="LiveId" clId="{3873675B-E5D3-4C32-8913-7DF0841991F9}" dt="2020-09-24T07:26:20.923" v="292" actId="403"/>
          <ac:spMkLst>
            <pc:docMk/>
            <pc:sldMk cId="3022188194" sldId="1518"/>
            <ac:spMk id="25" creationId="{31B2B469-6C77-4E8E-913F-4D6148A073AE}"/>
          </ac:spMkLst>
        </pc:spChg>
        <pc:spChg chg="add mod">
          <ac:chgData name="Aurelien Domont" userId="6da7715ce44349b3" providerId="LiveId" clId="{3873675B-E5D3-4C32-8913-7DF0841991F9}" dt="2020-09-24T07:26:20.923" v="292" actId="403"/>
          <ac:spMkLst>
            <pc:docMk/>
            <pc:sldMk cId="3022188194" sldId="1518"/>
            <ac:spMk id="26" creationId="{D547C259-6BD4-4048-86EB-353F61DD9806}"/>
          </ac:spMkLst>
        </pc:spChg>
        <pc:spChg chg="add mod">
          <ac:chgData name="Aurelien Domont" userId="6da7715ce44349b3" providerId="LiveId" clId="{3873675B-E5D3-4C32-8913-7DF0841991F9}" dt="2020-09-24T07:26:20.923" v="292" actId="403"/>
          <ac:spMkLst>
            <pc:docMk/>
            <pc:sldMk cId="3022188194" sldId="1518"/>
            <ac:spMk id="27" creationId="{C1A96B1E-19C8-4270-8560-97DF46F2D829}"/>
          </ac:spMkLst>
        </pc:spChg>
        <pc:spChg chg="add mod">
          <ac:chgData name="Aurelien Domont" userId="6da7715ce44349b3" providerId="LiveId" clId="{3873675B-E5D3-4C32-8913-7DF0841991F9}" dt="2020-09-24T07:26:20.923" v="292" actId="403"/>
          <ac:spMkLst>
            <pc:docMk/>
            <pc:sldMk cId="3022188194" sldId="1518"/>
            <ac:spMk id="28" creationId="{B8523912-61A5-42E0-A4C6-5F91CF46C323}"/>
          </ac:spMkLst>
        </pc:spChg>
        <pc:spChg chg="add mod">
          <ac:chgData name="Aurelien Domont" userId="6da7715ce44349b3" providerId="LiveId" clId="{3873675B-E5D3-4C32-8913-7DF0841991F9}" dt="2020-09-24T07:28:50.533" v="461" actId="208"/>
          <ac:spMkLst>
            <pc:docMk/>
            <pc:sldMk cId="3022188194" sldId="1518"/>
            <ac:spMk id="29" creationId="{E2B7B902-0955-465D-ADB1-78D68C4C6E84}"/>
          </ac:spMkLst>
        </pc:spChg>
        <pc:spChg chg="add mod">
          <ac:chgData name="Aurelien Domont" userId="6da7715ce44349b3" providerId="LiveId" clId="{3873675B-E5D3-4C32-8913-7DF0841991F9}" dt="2020-09-24T07:28:50.533" v="461" actId="208"/>
          <ac:spMkLst>
            <pc:docMk/>
            <pc:sldMk cId="3022188194" sldId="1518"/>
            <ac:spMk id="30" creationId="{1C714F5A-006A-4CFF-B366-1FB2A5B2B3A8}"/>
          </ac:spMkLst>
        </pc:spChg>
        <pc:spChg chg="add mod">
          <ac:chgData name="Aurelien Domont" userId="6da7715ce44349b3" providerId="LiveId" clId="{3873675B-E5D3-4C32-8913-7DF0841991F9}" dt="2020-09-24T07:28:53.373" v="462" actId="208"/>
          <ac:spMkLst>
            <pc:docMk/>
            <pc:sldMk cId="3022188194" sldId="1518"/>
            <ac:spMk id="31" creationId="{249B6312-9B17-4728-855A-91A64BDE2A1C}"/>
          </ac:spMkLst>
        </pc:spChg>
        <pc:spChg chg="add del mod">
          <ac:chgData name="Aurelien Domont" userId="6da7715ce44349b3" providerId="LiveId" clId="{3873675B-E5D3-4C32-8913-7DF0841991F9}" dt="2020-09-24T07:27:13.885" v="299" actId="478"/>
          <ac:spMkLst>
            <pc:docMk/>
            <pc:sldMk cId="3022188194" sldId="1518"/>
            <ac:spMk id="32" creationId="{99243163-E2C5-4241-849D-7CFB781C6806}"/>
          </ac:spMkLst>
        </pc:spChg>
        <pc:spChg chg="add del mod">
          <ac:chgData name="Aurelien Domont" userId="6da7715ce44349b3" providerId="LiveId" clId="{3873675B-E5D3-4C32-8913-7DF0841991F9}" dt="2020-09-24T07:27:13.885" v="299" actId="478"/>
          <ac:spMkLst>
            <pc:docMk/>
            <pc:sldMk cId="3022188194" sldId="1518"/>
            <ac:spMk id="33" creationId="{AD62B763-FF96-4EF7-BEA5-3F64FE0F5026}"/>
          </ac:spMkLst>
        </pc:spChg>
        <pc:spChg chg="add del mod">
          <ac:chgData name="Aurelien Domont" userId="6da7715ce44349b3" providerId="LiveId" clId="{3873675B-E5D3-4C32-8913-7DF0841991F9}" dt="2020-09-24T07:27:13.885" v="299" actId="478"/>
          <ac:spMkLst>
            <pc:docMk/>
            <pc:sldMk cId="3022188194" sldId="1518"/>
            <ac:spMk id="34" creationId="{5962F269-135E-4B78-A3E2-2920F857CD89}"/>
          </ac:spMkLst>
        </pc:spChg>
        <pc:spChg chg="del mod">
          <ac:chgData name="Aurelien Domont" userId="6da7715ce44349b3" providerId="LiveId" clId="{3873675B-E5D3-4C32-8913-7DF0841991F9}" dt="2020-09-24T07:24:02.854" v="258" actId="478"/>
          <ac:spMkLst>
            <pc:docMk/>
            <pc:sldMk cId="3022188194" sldId="1518"/>
            <ac:spMk id="41" creationId="{CDAC5E1B-649F-44B2-9B6A-55DFC5F981F5}"/>
          </ac:spMkLst>
        </pc:spChg>
        <pc:spChg chg="del">
          <ac:chgData name="Aurelien Domont" userId="6da7715ce44349b3" providerId="LiveId" clId="{3873675B-E5D3-4C32-8913-7DF0841991F9}" dt="2020-09-24T07:24:02.854" v="258" actId="478"/>
          <ac:spMkLst>
            <pc:docMk/>
            <pc:sldMk cId="3022188194" sldId="1518"/>
            <ac:spMk id="42" creationId="{30A4BAB1-ECB5-481A-979F-8F991EB2B28D}"/>
          </ac:spMkLst>
        </pc:spChg>
        <pc:picChg chg="del">
          <ac:chgData name="Aurelien Domont" userId="6da7715ce44349b3" providerId="LiveId" clId="{3873675B-E5D3-4C32-8913-7DF0841991F9}" dt="2020-09-24T07:18:37.845" v="23" actId="478"/>
          <ac:picMkLst>
            <pc:docMk/>
            <pc:sldMk cId="3022188194" sldId="1518"/>
            <ac:picMk id="40" creationId="{27542136-C3AF-40E2-B294-B19A0A391709}"/>
          </ac:picMkLst>
        </pc:picChg>
        <pc:cxnChg chg="add del mod">
          <ac:chgData name="Aurelien Domont" userId="6da7715ce44349b3" providerId="LiveId" clId="{3873675B-E5D3-4C32-8913-7DF0841991F9}" dt="2020-09-24T07:25:29.404" v="282" actId="478"/>
          <ac:cxnSpMkLst>
            <pc:docMk/>
            <pc:sldMk cId="3022188194" sldId="1518"/>
            <ac:cxnSpMk id="22" creationId="{83B7F319-1BFF-43B0-81C7-A7B5281A6C73}"/>
          </ac:cxnSpMkLst>
        </pc:cxnChg>
        <pc:cxnChg chg="add del mod">
          <ac:chgData name="Aurelien Domont" userId="6da7715ce44349b3" providerId="LiveId" clId="{3873675B-E5D3-4C32-8913-7DF0841991F9}" dt="2020-09-24T07:26:01.930" v="285" actId="478"/>
          <ac:cxnSpMkLst>
            <pc:docMk/>
            <pc:sldMk cId="3022188194" sldId="1518"/>
            <ac:cxnSpMk id="23" creationId="{ADAAD8E8-AF99-4C8F-BE90-404891EC27F0}"/>
          </ac:cxnSpMkLst>
        </pc:cxnChg>
        <pc:cxnChg chg="add del mod">
          <ac:chgData name="Aurelien Domont" userId="6da7715ce44349b3" providerId="LiveId" clId="{3873675B-E5D3-4C32-8913-7DF0841991F9}" dt="2020-09-24T07:26:04.484" v="286" actId="478"/>
          <ac:cxnSpMkLst>
            <pc:docMk/>
            <pc:sldMk cId="3022188194" sldId="1518"/>
            <ac:cxnSpMk id="24" creationId="{006A32F4-E2FA-44F4-8CA6-C1B00251B25C}"/>
          </ac:cxnSpMkLst>
        </pc:cxnChg>
      </pc:sldChg>
      <pc:sldChg chg="modSp mod">
        <pc:chgData name="Aurelien Domont" userId="6da7715ce44349b3" providerId="LiveId" clId="{3873675B-E5D3-4C32-8913-7DF0841991F9}" dt="2020-09-24T07:18:19.458" v="11" actId="948"/>
        <pc:sldMkLst>
          <pc:docMk/>
          <pc:sldMk cId="2674311003" sldId="1609"/>
        </pc:sldMkLst>
        <pc:spChg chg="mod">
          <ac:chgData name="Aurelien Domont" userId="6da7715ce44349b3" providerId="LiveId" clId="{3873675B-E5D3-4C32-8913-7DF0841991F9}" dt="2020-09-24T07:18:19.458" v="11" actId="948"/>
          <ac:spMkLst>
            <pc:docMk/>
            <pc:sldMk cId="2674311003" sldId="1609"/>
            <ac:spMk id="3" creationId="{5A344048-DBDE-413B-8AF9-F87D45AC158E}"/>
          </ac:spMkLst>
        </pc:spChg>
      </pc:sldChg>
      <pc:sldChg chg="modSp mod">
        <pc:chgData name="Aurelien Domont" userId="6da7715ce44349b3" providerId="LiveId" clId="{3873675B-E5D3-4C32-8913-7DF0841991F9}" dt="2020-09-24T07:30:33.641" v="481" actId="14100"/>
        <pc:sldMkLst>
          <pc:docMk/>
          <pc:sldMk cId="684678840" sldId="1857"/>
        </pc:sldMkLst>
        <pc:spChg chg="mod">
          <ac:chgData name="Aurelien Domont" userId="6da7715ce44349b3" providerId="LiveId" clId="{3873675B-E5D3-4C32-8913-7DF0841991F9}" dt="2020-09-24T07:30:33.641" v="481" actId="14100"/>
          <ac:spMkLst>
            <pc:docMk/>
            <pc:sldMk cId="684678840" sldId="1857"/>
            <ac:spMk id="41" creationId="{CDAC5E1B-649F-44B2-9B6A-55DFC5F981F5}"/>
          </ac:spMkLst>
        </pc:spChg>
        <pc:spChg chg="mod">
          <ac:chgData name="Aurelien Domont" userId="6da7715ce44349b3" providerId="LiveId" clId="{3873675B-E5D3-4C32-8913-7DF0841991F9}" dt="2020-09-24T07:30:30.516" v="480" actId="1035"/>
          <ac:spMkLst>
            <pc:docMk/>
            <pc:sldMk cId="684678840" sldId="1857"/>
            <ac:spMk id="42" creationId="{30A4BAB1-ECB5-481A-979F-8F991EB2B28D}"/>
          </ac:spMkLst>
        </pc:spChg>
      </pc:sldChg>
      <pc:sldChg chg="add">
        <pc:chgData name="Aurelien Domont" userId="6da7715ce44349b3" providerId="LiveId" clId="{3873675B-E5D3-4C32-8913-7DF0841991F9}" dt="2020-09-24T07:16:22.590" v="0"/>
        <pc:sldMkLst>
          <pc:docMk/>
          <pc:sldMk cId="1754585881" sldId="1862"/>
        </pc:sldMkLst>
      </pc:sldChg>
      <pc:sldChg chg="add">
        <pc:chgData name="Aurelien Domont" userId="6da7715ce44349b3" providerId="LiveId" clId="{3873675B-E5D3-4C32-8913-7DF0841991F9}" dt="2020-09-24T07:18:26.641" v="12"/>
        <pc:sldMkLst>
          <pc:docMk/>
          <pc:sldMk cId="2207873510" sldId="1863"/>
        </pc:sldMkLst>
      </pc:sldChg>
    </pc:docChg>
  </pc:docChgLst>
  <pc:docChgLst>
    <pc:chgData name="Aurelien Domont" userId="6da7715ce44349b3" providerId="LiveId" clId="{50969F40-56D3-4733-8BFE-8580698EDE73}"/>
    <pc:docChg chg="addSld delSld modSld">
      <pc:chgData name="Aurelien Domont" userId="6da7715ce44349b3" providerId="LiveId" clId="{50969F40-56D3-4733-8BFE-8580698EDE73}" dt="2022-02-03T00:09:25.147" v="1"/>
      <pc:docMkLst>
        <pc:docMk/>
      </pc:docMkLst>
      <pc:sldChg chg="del">
        <pc:chgData name="Aurelien Domont" userId="6da7715ce44349b3" providerId="LiveId" clId="{50969F40-56D3-4733-8BFE-8580698EDE73}" dt="2022-02-03T00:09:23.694" v="0" actId="47"/>
        <pc:sldMkLst>
          <pc:docMk/>
          <pc:sldMk cId="3156799195" sldId="293"/>
        </pc:sldMkLst>
      </pc:sldChg>
      <pc:sldChg chg="del">
        <pc:chgData name="Aurelien Domont" userId="6da7715ce44349b3" providerId="LiveId" clId="{50969F40-56D3-4733-8BFE-8580698EDE73}" dt="2022-02-03T00:09:23.694" v="0" actId="47"/>
        <pc:sldMkLst>
          <pc:docMk/>
          <pc:sldMk cId="3242245624" sldId="296"/>
        </pc:sldMkLst>
      </pc:sldChg>
      <pc:sldChg chg="del">
        <pc:chgData name="Aurelien Domont" userId="6da7715ce44349b3" providerId="LiveId" clId="{50969F40-56D3-4733-8BFE-8580698EDE73}" dt="2022-02-03T00:09:23.694" v="0" actId="47"/>
        <pc:sldMkLst>
          <pc:docMk/>
          <pc:sldMk cId="605554773" sldId="1515"/>
        </pc:sldMkLst>
      </pc:sldChg>
      <pc:sldChg chg="add">
        <pc:chgData name="Aurelien Domont" userId="6da7715ce44349b3" providerId="LiveId" clId="{50969F40-56D3-4733-8BFE-8580698EDE73}" dt="2022-02-03T00:09:25.147" v="1"/>
        <pc:sldMkLst>
          <pc:docMk/>
          <pc:sldMk cId="1754585881" sldId="1598"/>
        </pc:sldMkLst>
      </pc:sldChg>
      <pc:sldChg chg="add">
        <pc:chgData name="Aurelien Domont" userId="6da7715ce44349b3" providerId="LiveId" clId="{50969F40-56D3-4733-8BFE-8580698EDE73}" dt="2022-02-03T00:09:25.147" v="1"/>
        <pc:sldMkLst>
          <pc:docMk/>
          <pc:sldMk cId="2853806433" sldId="1600"/>
        </pc:sldMkLst>
      </pc:sldChg>
      <pc:sldChg chg="add">
        <pc:chgData name="Aurelien Domont" userId="6da7715ce44349b3" providerId="LiveId" clId="{50969F40-56D3-4733-8BFE-8580698EDE73}" dt="2022-02-03T00:09:25.147" v="1"/>
        <pc:sldMkLst>
          <pc:docMk/>
          <pc:sldMk cId="1252826214" sldId="1711"/>
        </pc:sldMkLst>
      </pc:sldChg>
      <pc:sldChg chg="del">
        <pc:chgData name="Aurelien Domont" userId="6da7715ce44349b3" providerId="LiveId" clId="{50969F40-56D3-4733-8BFE-8580698EDE73}" dt="2022-02-03T00:09:23.694" v="0" actId="47"/>
        <pc:sldMkLst>
          <pc:docMk/>
          <pc:sldMk cId="1754585881" sldId="1862"/>
        </pc:sldMkLst>
      </pc:sldChg>
      <pc:sldChg chg="add">
        <pc:chgData name="Aurelien Domont" userId="6da7715ce44349b3" providerId="LiveId" clId="{50969F40-56D3-4733-8BFE-8580698EDE73}" dt="2022-02-03T00:09:25.147" v="1"/>
        <pc:sldMkLst>
          <pc:docMk/>
          <pc:sldMk cId="3938337455" sldId="2034"/>
        </pc:sldMkLst>
      </pc:sldChg>
      <pc:sldChg chg="add">
        <pc:chgData name="Aurelien Domont" userId="6da7715ce44349b3" providerId="LiveId" clId="{50969F40-56D3-4733-8BFE-8580698EDE73}" dt="2022-02-03T00:09:25.147" v="1"/>
        <pc:sldMkLst>
          <pc:docMk/>
          <pc:sldMk cId="1926619926" sldId="2147"/>
        </pc:sldMkLst>
      </pc:sldChg>
    </pc:docChg>
  </pc:docChgLst>
  <pc:docChgLst>
    <pc:chgData name="Aurelien Domont" userId="6da7715ce44349b3" providerId="LiveId" clId="{67F1CE6F-0A1A-4151-BC93-B35163953258}"/>
    <pc:docChg chg="addSld delSld modSld">
      <pc:chgData name="Aurelien Domont" userId="6da7715ce44349b3" providerId="LiveId" clId="{67F1CE6F-0A1A-4151-BC93-B35163953258}" dt="2022-08-17T07:30:37.586" v="3" actId="2696"/>
      <pc:docMkLst>
        <pc:docMk/>
      </pc:docMkLst>
      <pc:sldChg chg="modSp mod">
        <pc:chgData name="Aurelien Domont" userId="6da7715ce44349b3" providerId="LiveId" clId="{67F1CE6F-0A1A-4151-BC93-B35163953258}" dt="2022-08-17T07:29:32.925" v="1" actId="113"/>
        <pc:sldMkLst>
          <pc:docMk/>
          <pc:sldMk cId="3022188194" sldId="1518"/>
        </pc:sldMkLst>
        <pc:spChg chg="mod">
          <ac:chgData name="Aurelien Domont" userId="6da7715ce44349b3" providerId="LiveId" clId="{67F1CE6F-0A1A-4151-BC93-B35163953258}" dt="2022-08-17T07:29:32.925" v="1" actId="113"/>
          <ac:spMkLst>
            <pc:docMk/>
            <pc:sldMk cId="3022188194" sldId="1518"/>
            <ac:spMk id="14" creationId="{C9800183-F524-4412-AB39-A6E1A21FF0B3}"/>
          </ac:spMkLst>
        </pc:spChg>
      </pc:sldChg>
      <pc:sldChg chg="add del">
        <pc:chgData name="Aurelien Domont" userId="6da7715ce44349b3" providerId="LiveId" clId="{67F1CE6F-0A1A-4151-BC93-B35163953258}" dt="2022-08-17T07:30:37.586" v="3" actId="2696"/>
        <pc:sldMkLst>
          <pc:docMk/>
          <pc:sldMk cId="1480389636" sldId="1520"/>
        </pc:sldMkLst>
      </pc:sldChg>
      <pc:sldChg chg="add">
        <pc:chgData name="Aurelien Domont" userId="6da7715ce44349b3" providerId="LiveId" clId="{67F1CE6F-0A1A-4151-BC93-B35163953258}" dt="2022-08-17T07:30:06.367" v="2"/>
        <pc:sldMkLst>
          <pc:docMk/>
          <pc:sldMk cId="2522524554" sldId="1641"/>
        </pc:sldMkLst>
      </pc:sldChg>
      <pc:sldChg chg="add">
        <pc:chgData name="Aurelien Domont" userId="6da7715ce44349b3" providerId="LiveId" clId="{67F1CE6F-0A1A-4151-BC93-B35163953258}" dt="2022-08-17T07:30:06.367" v="2"/>
        <pc:sldMkLst>
          <pc:docMk/>
          <pc:sldMk cId="3028313906" sldId="1642"/>
        </pc:sldMkLst>
      </pc:sldChg>
      <pc:sldChg chg="add">
        <pc:chgData name="Aurelien Domont" userId="6da7715ce44349b3" providerId="LiveId" clId="{67F1CE6F-0A1A-4151-BC93-B35163953258}" dt="2022-08-17T07:30:06.367" v="2"/>
        <pc:sldMkLst>
          <pc:docMk/>
          <pc:sldMk cId="1915463839" sldId="1643"/>
        </pc:sldMkLst>
      </pc:sldChg>
      <pc:sldChg chg="add">
        <pc:chgData name="Aurelien Domont" userId="6da7715ce44349b3" providerId="LiveId" clId="{67F1CE6F-0A1A-4151-BC93-B35163953258}" dt="2022-08-17T07:30:06.367" v="2"/>
        <pc:sldMkLst>
          <pc:docMk/>
          <pc:sldMk cId="285097367" sldId="1644"/>
        </pc:sldMkLst>
      </pc:sldChg>
      <pc:sldChg chg="add">
        <pc:chgData name="Aurelien Domont" userId="6da7715ce44349b3" providerId="LiveId" clId="{67F1CE6F-0A1A-4151-BC93-B35163953258}" dt="2022-08-17T07:30:06.367" v="2"/>
        <pc:sldMkLst>
          <pc:docMk/>
          <pc:sldMk cId="1886465646" sldId="1645"/>
        </pc:sldMkLst>
      </pc:sldChg>
      <pc:sldChg chg="add">
        <pc:chgData name="Aurelien Domont" userId="6da7715ce44349b3" providerId="LiveId" clId="{67F1CE6F-0A1A-4151-BC93-B35163953258}" dt="2022-08-17T07:30:06.367" v="2"/>
        <pc:sldMkLst>
          <pc:docMk/>
          <pc:sldMk cId="610480051" sldId="1646"/>
        </pc:sldMkLst>
      </pc:sldChg>
      <pc:sldChg chg="add">
        <pc:chgData name="Aurelien Domont" userId="6da7715ce44349b3" providerId="LiveId" clId="{67F1CE6F-0A1A-4151-BC93-B35163953258}" dt="2022-08-17T07:30:06.367" v="2"/>
        <pc:sldMkLst>
          <pc:docMk/>
          <pc:sldMk cId="1287530608" sldId="164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1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81.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82.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83.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96.xml"/><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7.xml"/><Relationship Id="rId1" Type="http://schemas.openxmlformats.org/officeDocument/2006/relationships/tags" Target="../tags/tag97.xml"/><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tags" Target="../tags/tag98.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C9076471-FF17-0808-402D-6A37059924A4}"/>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5" name="Straight Connector 4">
            <a:extLst>
              <a:ext uri="{FF2B5EF4-FFF2-40B4-BE49-F238E27FC236}">
                <a16:creationId xmlns:a16="http://schemas.microsoft.com/office/drawing/2014/main" id="{25A31384-03F1-B669-A293-D417B073776F}"/>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9568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mtClean="0"/>
              <a:pPr/>
              <a:t>‹#›</a:t>
            </a:fld>
            <a:endParaRPr lang="en-US" dirty="0"/>
          </a:p>
        </p:txBody>
      </p:sp>
      <p:graphicFrame>
        <p:nvGraphicFramePr>
          <p:cNvPr id="2" name="Object 1" hidden="1">
            <a:extLst>
              <a:ext uri="{FF2B5EF4-FFF2-40B4-BE49-F238E27FC236}">
                <a16:creationId xmlns:a16="http://schemas.microsoft.com/office/drawing/2014/main" id="{E64DE3A7-B89E-BCE8-36E7-3C8CC23E16AE}"/>
              </a:ext>
            </a:extLst>
          </p:cNvPr>
          <p:cNvGraphicFramePr>
            <a:graphicFrameLocks noChangeAspect="1"/>
          </p:cNvGraphicFramePr>
          <p:nvPr userDrawn="1">
            <p:custDataLst>
              <p:tags r:id="rId3"/>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E64DE3A7-B89E-BCE8-36E7-3C8CC23E16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856C6DC-25E7-8C5F-2185-17D241B3874C}"/>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A7B971AB-2329-868A-C6C2-9E73875E8F08}"/>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745A6158-0DE2-1A70-BA45-D6D0790F9541}"/>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7896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5" name="Rectangle 4">
            <a:extLst>
              <a:ext uri="{FF2B5EF4-FFF2-40B4-BE49-F238E27FC236}">
                <a16:creationId xmlns:a16="http://schemas.microsoft.com/office/drawing/2014/main" id="{42F54DB8-4BE6-0449-88CC-EB802ADB133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6" name="Straight Connector 5">
            <a:extLst>
              <a:ext uri="{FF2B5EF4-FFF2-40B4-BE49-F238E27FC236}">
                <a16:creationId xmlns:a16="http://schemas.microsoft.com/office/drawing/2014/main" id="{EE4D51A0-E480-3D09-DBFB-758E72CB051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4325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79FDB22A-DE5C-1C1C-FC72-A1594ED10B10}"/>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6" name="Straight Connector 5">
            <a:extLst>
              <a:ext uri="{FF2B5EF4-FFF2-40B4-BE49-F238E27FC236}">
                <a16:creationId xmlns:a16="http://schemas.microsoft.com/office/drawing/2014/main" id="{ED517F82-DF63-B5D5-E681-AC963BF1A056}"/>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0E8A35C-E1E4-B2F9-A715-329100A508C9}"/>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50081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02F93B9D-0A3D-9ED7-E815-7679D5A3B73C}"/>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70941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7F189258-371D-1233-8041-C7590DD6070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144500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198823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128249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749143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39053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32823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564289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241290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037486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87212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8807449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018554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7298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419631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86692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636222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6625548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776766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617612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779241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595486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133266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80729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98739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638944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086975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854320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911167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656569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87348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334879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142903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0590280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032603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387584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655833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248815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655323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607665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50651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198271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051401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0503462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4358939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708524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8762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474551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535719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184716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36496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788981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243878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613940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424317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101315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656878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5800174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791393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343006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800895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747091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436671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282945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503667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2036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
        <p:nvSpPr>
          <p:cNvPr id="8" name="Rectangle 7">
            <a:extLst>
              <a:ext uri="{FF2B5EF4-FFF2-40B4-BE49-F238E27FC236}">
                <a16:creationId xmlns:a16="http://schemas.microsoft.com/office/drawing/2014/main" id="{FE096495-A4C2-62C5-F4E3-8880AFFE4012}"/>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541625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oleObject" Target="../embeddings/oleObject60.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108.xml"/><Relationship Id="rId5" Type="http://schemas.openxmlformats.org/officeDocument/2006/relationships/slideLayout" Target="../slideLayouts/slideLayout76.xml"/><Relationship Id="rId10" Type="http://schemas.openxmlformats.org/officeDocument/2006/relationships/tags" Target="../tags/tag107.xml"/><Relationship Id="rId4" Type="http://schemas.openxmlformats.org/officeDocument/2006/relationships/slideLayout" Target="../slideLayouts/slideLayout75.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3.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9.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8.xml"/><Relationship Id="rId5" Type="http://schemas.openxmlformats.org/officeDocument/2006/relationships/slideLayout" Target="../slideLayouts/slideLayout13.xml"/><Relationship Id="rId15" Type="http://schemas.openxmlformats.org/officeDocument/2006/relationships/oleObject" Target="../embeddings/oleObject1.bin"/><Relationship Id="rId10" Type="http://schemas.openxmlformats.org/officeDocument/2006/relationships/tags" Target="../tags/tag7.xml"/><Relationship Id="rId4" Type="http://schemas.openxmlformats.org/officeDocument/2006/relationships/slideLayout" Target="../slideLayouts/slideLayout12.xml"/><Relationship Id="rId9" Type="http://schemas.openxmlformats.org/officeDocument/2006/relationships/tags" Target="../tags/tag6.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0" Type="http://schemas.openxmlformats.org/officeDocument/2006/relationships/tags" Target="../tags/tag24.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0.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0.xml"/><Relationship Id="rId5" Type="http://schemas.openxmlformats.org/officeDocument/2006/relationships/slideLayout" Target="../slideLayouts/slideLayout28.xml"/><Relationship Id="rId10" Type="http://schemas.openxmlformats.org/officeDocument/2006/relationships/tags" Target="../tags/tag39.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29.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55.xml"/><Relationship Id="rId5" Type="http://schemas.openxmlformats.org/officeDocument/2006/relationships/slideLayout" Target="../slideLayouts/slideLayout36.xml"/><Relationship Id="rId10" Type="http://schemas.openxmlformats.org/officeDocument/2006/relationships/tags" Target="../tags/tag54.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38.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0.xml"/><Relationship Id="rId5" Type="http://schemas.openxmlformats.org/officeDocument/2006/relationships/slideLayout" Target="../slideLayouts/slideLayout44.xml"/><Relationship Id="rId10" Type="http://schemas.openxmlformats.org/officeDocument/2006/relationships/tags" Target="../tags/tag69.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47.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85.xml"/><Relationship Id="rId5" Type="http://schemas.openxmlformats.org/officeDocument/2006/relationships/slideLayout" Target="../slideLayouts/slideLayout52.xml"/><Relationship Id="rId10" Type="http://schemas.openxmlformats.org/officeDocument/2006/relationships/tags" Target="../tags/tag84.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100.xml"/><Relationship Id="rId5" Type="http://schemas.openxmlformats.org/officeDocument/2006/relationships/slideLayout" Target="../slideLayouts/slideLayout60.xml"/><Relationship Id="rId10" Type="http://schemas.openxmlformats.org/officeDocument/2006/relationships/tags" Target="../tags/tag99.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4.xml"/><Relationship Id="rId5" Type="http://schemas.openxmlformats.org/officeDocument/2006/relationships/slideLayout" Target="../slideLayouts/slideLayout68.xml"/><Relationship Id="rId10" Type="http://schemas.openxmlformats.org/officeDocument/2006/relationships/tags" Target="../tags/tag103.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4044771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62B117BF-C389-30DF-EB70-F0C7FEB99357}"/>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62B117BF-C389-30DF-EB70-F0C7FEB9935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33FF8EE-F736-468B-19A0-30AB13ACB4C1}"/>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D3171408-D41B-F19B-6239-4387EC31A18F}"/>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FD2FE082-7FB6-1303-1295-8BB66CAC199F}"/>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689217"/>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74184222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61599446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02813710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62028665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04052185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92873215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065647958"/>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8.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sv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7.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8.bin"/></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1.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notesSlide" Target="../notesSlides/notesSlide1.xml"/><Relationship Id="rId9" Type="http://schemas.openxmlformats.org/officeDocument/2006/relationships/hyperlink" Target="https://www.domontconsulting.com/pages/full-access"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hyperlink" Target="https://www.domontconsulting.com/" TargetMode="Externa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notesSlide" Target="../notesSlides/notesSlide2.xml"/><Relationship Id="rId9" Type="http://schemas.openxmlformats.org/officeDocument/2006/relationships/hyperlink" Target="http://www.domontconsulting.com/"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159744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a:bodyPr>
          <a:lstStyle/>
          <a:p>
            <a:r>
              <a:rPr lang="en-US" sz="5400" dirty="0"/>
              <a:t>Project Financials Tutorial</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49299"/>
          </a:xfrm>
        </p:spPr>
        <p:txBody>
          <a:bodyPr lIns="0" tIns="0" rIns="0" bIns="0">
            <a:spAutoFit/>
          </a:bodyPr>
          <a:lstStyle/>
          <a:p>
            <a:r>
              <a:rPr lang="en-US" sz="1800" b="1" dirty="0"/>
              <a:t>Created by Consultants </a:t>
            </a:r>
            <a:r>
              <a:rPr lang="en-US" sz="1800" b="1"/>
              <a:t>previously from Deloitte</a:t>
            </a:r>
            <a:r>
              <a:rPr lang="en-US" sz="1800" b="1" dirty="0"/>
              <a:t>, McKinsey &amp; BCG</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2" name="Picture 11">
            <a:hlinkClick r:id="rId6"/>
            <a:extLst>
              <a:ext uri="{FF2B5EF4-FFF2-40B4-BE49-F238E27FC236}">
                <a16:creationId xmlns:a16="http://schemas.microsoft.com/office/drawing/2014/main" id="{787CD3C7-F72B-B60E-D046-10D361531315}"/>
              </a:ext>
            </a:extLst>
          </p:cNvPr>
          <p:cNvPicPr>
            <a:picLocks noChangeAspect="1"/>
          </p:cNvPicPr>
          <p:nvPr/>
        </p:nvPicPr>
        <p:blipFill>
          <a:blip r:embed="rId7"/>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6633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Cumulative Cash Flow</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3237CB2A-BE26-4E5C-89D1-6D51C8A773C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1035"/>
          <a:stretch/>
        </p:blipFill>
        <p:spPr>
          <a:xfrm>
            <a:off x="1370057" y="2753034"/>
            <a:ext cx="9451886" cy="3647766"/>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313670"/>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114"/>
              <a:gd name="adj2" fmla="val 2203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umulative Cash Flow represents the total amount of cash that will be generated since the beginning of the project. The formula to calculate your Cumulative Cash Flow for, let’s say, Year 2 i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ash </a:t>
            </a:r>
            <a:r>
              <a:rPr lang="en-US" sz="1050" b="1">
                <a:solidFill>
                  <a:srgbClr val="0C2870"/>
                </a:solidFill>
                <a:latin typeface="Arial" charset="0"/>
                <a:cs typeface="Times New Roman" pitchFamily="18" charset="0"/>
              </a:rPr>
              <a:t>Flow in Year </a:t>
            </a:r>
            <a:r>
              <a:rPr lang="en-US" sz="1050" b="1" dirty="0">
                <a:solidFill>
                  <a:srgbClr val="0C2870"/>
                </a:solidFill>
                <a:latin typeface="Arial" charset="0"/>
                <a:cs typeface="Times New Roman" pitchFamily="18" charset="0"/>
              </a:rPr>
              <a:t>0 + Cash </a:t>
            </a:r>
            <a:r>
              <a:rPr lang="en-US" sz="1050" b="1">
                <a:solidFill>
                  <a:srgbClr val="0C2870"/>
                </a:solidFill>
                <a:latin typeface="Arial" charset="0"/>
                <a:cs typeface="Times New Roman" pitchFamily="18" charset="0"/>
              </a:rPr>
              <a:t>Flow in Year </a:t>
            </a:r>
            <a:r>
              <a:rPr lang="en-US" sz="1050" b="1" dirty="0">
                <a:solidFill>
                  <a:srgbClr val="0C2870"/>
                </a:solidFill>
                <a:latin typeface="Arial" charset="0"/>
                <a:cs typeface="Times New Roman" pitchFamily="18" charset="0"/>
              </a:rPr>
              <a:t>1 + Cash </a:t>
            </a:r>
            <a:r>
              <a:rPr lang="en-US" sz="1050" b="1">
                <a:solidFill>
                  <a:srgbClr val="0C2870"/>
                </a:solidFill>
                <a:latin typeface="Arial" charset="0"/>
                <a:cs typeface="Times New Roman" pitchFamily="18" charset="0"/>
              </a:rPr>
              <a:t>Flow in Year </a:t>
            </a:r>
            <a:r>
              <a:rPr lang="en-US" sz="1050" b="1" dirty="0">
                <a:solidFill>
                  <a:srgbClr val="0C2870"/>
                </a:solidFill>
                <a:latin typeface="Arial" charset="0"/>
                <a:cs typeface="Times New Roman" pitchFamily="18" charset="0"/>
              </a:rPr>
              <a:t>2</a:t>
            </a:r>
          </a:p>
        </p:txBody>
      </p:sp>
    </p:spTree>
    <p:extLst>
      <p:ext uri="{BB962C8B-B14F-4D97-AF65-F5344CB8AC3E}">
        <p14:creationId xmlns:p14="http://schemas.microsoft.com/office/powerpoint/2010/main" val="2896019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Net Present Value</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3E8FA752-64CE-4076-A955-3BE422B66A1B}"/>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726625"/>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634"/>
              <a:gd name="adj2" fmla="val 25759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eaLnBrk="0" hangingPunct="0">
              <a:spcBef>
                <a:spcPts val="600"/>
              </a:spcBef>
              <a:spcAft>
                <a:spcPts val="600"/>
              </a:spcAft>
            </a:pPr>
            <a:r>
              <a:rPr lang="en-US" sz="1050" dirty="0">
                <a:cs typeface="Times New Roman" pitchFamily="18" charset="0"/>
              </a:rPr>
              <a:t>A Net Present Value (NPV) analysis will help you estimate the net present value of future cash flows that you will receive over a period of time. Because money today could be earning interest, a dollar received now is worth more than a dollar received in the future. As a result, future cash flows should be discounted.</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8768589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402465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Net Present Value</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3E8FA752-64CE-4076-A955-3BE422B66A1B}"/>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726625"/>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 name="Rounded Rectangular Callout 19">
            <a:extLst>
              <a:ext uri="{FF2B5EF4-FFF2-40B4-BE49-F238E27FC236}">
                <a16:creationId xmlns:a16="http://schemas.microsoft.com/office/drawing/2014/main" id="{DC8DC27F-5D3B-EEEC-109C-4E64A9356F78}"/>
              </a:ext>
            </a:extLst>
          </p:cNvPr>
          <p:cNvSpPr/>
          <p:nvPr/>
        </p:nvSpPr>
        <p:spPr bwMode="auto">
          <a:xfrm>
            <a:off x="1370056" y="967562"/>
            <a:ext cx="9451886" cy="1479927"/>
          </a:xfrm>
          <a:prstGeom prst="wedgeRoundRectCallout">
            <a:avLst>
              <a:gd name="adj1" fmla="val -35685"/>
              <a:gd name="adj2" fmla="val 19814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eaLnBrk="0" hangingPunct="0">
              <a:spcBef>
                <a:spcPts val="600"/>
              </a:spcBef>
              <a:spcAft>
                <a:spcPts val="600"/>
              </a:spcAft>
            </a:pPr>
            <a:endParaRPr lang="en-US" sz="1050" b="1" dirty="0">
              <a:solidFill>
                <a:srgbClr val="0C2870"/>
              </a:solidFill>
              <a:latin typeface="Arial" charset="0"/>
              <a:cs typeface="Times New Roman" pitchFamily="18" charset="0"/>
            </a:endParaRPr>
          </a:p>
        </p:txBody>
      </p:sp>
      <p:sp>
        <p:nvSpPr>
          <p:cNvPr id="2" name="Rectangle 1">
            <a:extLst>
              <a:ext uri="{FF2B5EF4-FFF2-40B4-BE49-F238E27FC236}">
                <a16:creationId xmlns:a16="http://schemas.microsoft.com/office/drawing/2014/main" id="{93167E58-D9D2-5417-A1CC-83D6A181A875}"/>
              </a:ext>
            </a:extLst>
          </p:cNvPr>
          <p:cNvSpPr/>
          <p:nvPr/>
        </p:nvSpPr>
        <p:spPr>
          <a:xfrm>
            <a:off x="2667208" y="1011414"/>
            <a:ext cx="708728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gn="ctr">
              <a:spcBef>
                <a:spcPts val="500"/>
              </a:spcBef>
              <a:spcAft>
                <a:spcPts val="500"/>
              </a:spcAft>
              <a:defRPr/>
            </a:pPr>
            <a:r>
              <a:rPr lang="en-US" b="1" dirty="0">
                <a:solidFill>
                  <a:schemeClr val="tx1"/>
                </a:solidFill>
              </a:rPr>
              <a:t>Here is the formula:</a:t>
            </a:r>
          </a:p>
        </p:txBody>
      </p:sp>
      <p:grpSp>
        <p:nvGrpSpPr>
          <p:cNvPr id="4" name="Group 3">
            <a:extLst>
              <a:ext uri="{FF2B5EF4-FFF2-40B4-BE49-F238E27FC236}">
                <a16:creationId xmlns:a16="http://schemas.microsoft.com/office/drawing/2014/main" id="{3C928F0B-D43A-1F87-6DA2-10C647C117F9}"/>
              </a:ext>
            </a:extLst>
          </p:cNvPr>
          <p:cNvGrpSpPr/>
          <p:nvPr/>
        </p:nvGrpSpPr>
        <p:grpSpPr>
          <a:xfrm>
            <a:off x="2775629" y="1232657"/>
            <a:ext cx="6640739" cy="719554"/>
            <a:chOff x="1777349" y="3171724"/>
            <a:chExt cx="6640739" cy="719554"/>
          </a:xfrm>
          <a:noFill/>
        </p:grpSpPr>
        <p:sp>
          <p:nvSpPr>
            <p:cNvPr id="5" name="TextBox 4">
              <a:extLst>
                <a:ext uri="{FF2B5EF4-FFF2-40B4-BE49-F238E27FC236}">
                  <a16:creationId xmlns:a16="http://schemas.microsoft.com/office/drawing/2014/main" id="{09A6DAB9-C40B-E83E-7555-E3A6E5D40F21}"/>
                </a:ext>
              </a:extLst>
            </p:cNvPr>
            <p:cNvSpPr txBox="1"/>
            <p:nvPr/>
          </p:nvSpPr>
          <p:spPr>
            <a:xfrm>
              <a:off x="1777349" y="3331724"/>
              <a:ext cx="2470025" cy="400110"/>
            </a:xfrm>
            <a:prstGeom prst="rect">
              <a:avLst/>
            </a:prstGeom>
            <a:grpFill/>
          </p:spPr>
          <p:txBody>
            <a:bodyPr wrap="square" rtlCol="0">
              <a:spAutoFit/>
            </a:bodyPr>
            <a:lstStyle/>
            <a:p>
              <a:pPr algn="ctr">
                <a:spcBef>
                  <a:spcPts val="300"/>
                </a:spcBef>
                <a:spcAft>
                  <a:spcPts val="300"/>
                </a:spcAft>
              </a:pPr>
              <a:r>
                <a:rPr lang="en-US" sz="2000" b="1" dirty="0">
                  <a:ea typeface="ＭＳ Ｐゴシック" pitchFamily="50" charset="-128"/>
                </a:rPr>
                <a:t>NPV for year 1  =</a:t>
              </a:r>
              <a:endParaRPr lang="en-US" sz="2800" dirty="0"/>
            </a:p>
          </p:txBody>
        </p:sp>
        <p:sp>
          <p:nvSpPr>
            <p:cNvPr id="6" name="TextBox 5">
              <a:extLst>
                <a:ext uri="{FF2B5EF4-FFF2-40B4-BE49-F238E27FC236}">
                  <a16:creationId xmlns:a16="http://schemas.microsoft.com/office/drawing/2014/main" id="{A87FE83C-F549-A155-974A-430978F94D7A}"/>
                </a:ext>
              </a:extLst>
            </p:cNvPr>
            <p:cNvSpPr txBox="1"/>
            <p:nvPr/>
          </p:nvSpPr>
          <p:spPr>
            <a:xfrm>
              <a:off x="6278140" y="3171724"/>
              <a:ext cx="2070095" cy="338554"/>
            </a:xfrm>
            <a:prstGeom prst="rect">
              <a:avLst/>
            </a:prstGeom>
            <a:grpFill/>
          </p:spPr>
          <p:txBody>
            <a:bodyPr wrap="square" rtlCol="0">
              <a:spAutoFit/>
            </a:bodyPr>
            <a:lstStyle/>
            <a:p>
              <a:pPr algn="ctr">
                <a:spcBef>
                  <a:spcPts val="300"/>
                </a:spcBef>
                <a:spcAft>
                  <a:spcPts val="300"/>
                </a:spcAft>
              </a:pPr>
              <a:r>
                <a:rPr lang="en-US" sz="1600" dirty="0">
                  <a:ea typeface="ＭＳ Ｐゴシック" pitchFamily="50" charset="-128"/>
                </a:rPr>
                <a:t>1</a:t>
              </a:r>
              <a:endParaRPr lang="en-US" sz="2000" dirty="0"/>
            </a:p>
          </p:txBody>
        </p:sp>
        <p:cxnSp>
          <p:nvCxnSpPr>
            <p:cNvPr id="7" name="Straight Connector 6">
              <a:extLst>
                <a:ext uri="{FF2B5EF4-FFF2-40B4-BE49-F238E27FC236}">
                  <a16:creationId xmlns:a16="http://schemas.microsoft.com/office/drawing/2014/main" id="{B15545D0-6857-C2BC-4C44-A0845796D7DC}"/>
                </a:ext>
              </a:extLst>
            </p:cNvPr>
            <p:cNvCxnSpPr>
              <a:cxnSpLocks/>
            </p:cNvCxnSpPr>
            <p:nvPr/>
          </p:nvCxnSpPr>
          <p:spPr>
            <a:xfrm>
              <a:off x="6208287" y="3531501"/>
              <a:ext cx="2209801" cy="0"/>
            </a:xfrm>
            <a:prstGeom prst="line">
              <a:avLst/>
            </a:prstGeom>
            <a:grpFill/>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54BFB71-B620-BA55-5723-82CDF0F74961}"/>
                </a:ext>
              </a:extLst>
            </p:cNvPr>
            <p:cNvSpPr txBox="1"/>
            <p:nvPr/>
          </p:nvSpPr>
          <p:spPr>
            <a:xfrm>
              <a:off x="6208287" y="3552724"/>
              <a:ext cx="2209801" cy="338554"/>
            </a:xfrm>
            <a:prstGeom prst="rect">
              <a:avLst/>
            </a:prstGeom>
            <a:grpFill/>
          </p:spPr>
          <p:txBody>
            <a:bodyPr wrap="square" rtlCol="0">
              <a:spAutoFit/>
            </a:bodyPr>
            <a:lstStyle/>
            <a:p>
              <a:pPr algn="ctr">
                <a:spcBef>
                  <a:spcPts val="300"/>
                </a:spcBef>
                <a:spcAft>
                  <a:spcPts val="300"/>
                </a:spcAft>
              </a:pPr>
              <a:r>
                <a:rPr lang="en-US" sz="1600" dirty="0">
                  <a:ea typeface="ＭＳ Ｐゴシック" pitchFamily="50" charset="-128"/>
                </a:rPr>
                <a:t>(1+ Growth rate)</a:t>
              </a:r>
              <a:r>
                <a:rPr lang="en-US" sz="1600" baseline="30000" dirty="0">
                  <a:ea typeface="ＭＳ Ｐゴシック" pitchFamily="50" charset="-128"/>
                </a:rPr>
                <a:t>Period</a:t>
              </a:r>
              <a:endParaRPr lang="en-US" sz="2000" baseline="30000" dirty="0"/>
            </a:p>
          </p:txBody>
        </p:sp>
        <p:sp>
          <p:nvSpPr>
            <p:cNvPr id="10" name="TextBox 9">
              <a:extLst>
                <a:ext uri="{FF2B5EF4-FFF2-40B4-BE49-F238E27FC236}">
                  <a16:creationId xmlns:a16="http://schemas.microsoft.com/office/drawing/2014/main" id="{2854B74A-D6D9-1E5A-9EDB-CF6E67BE10A1}"/>
                </a:ext>
              </a:extLst>
            </p:cNvPr>
            <p:cNvSpPr txBox="1"/>
            <p:nvPr/>
          </p:nvSpPr>
          <p:spPr>
            <a:xfrm>
              <a:off x="4107668" y="3362502"/>
              <a:ext cx="2209801" cy="338554"/>
            </a:xfrm>
            <a:prstGeom prst="rect">
              <a:avLst/>
            </a:prstGeom>
            <a:grpFill/>
          </p:spPr>
          <p:txBody>
            <a:bodyPr wrap="square" rtlCol="0">
              <a:spAutoFit/>
            </a:bodyPr>
            <a:lstStyle/>
            <a:p>
              <a:r>
                <a:rPr lang="en-US" sz="1600" dirty="0"/>
                <a:t>Year 1 Cash Flow X</a:t>
              </a:r>
            </a:p>
          </p:txBody>
        </p:sp>
      </p:grpSp>
      <p:sp>
        <p:nvSpPr>
          <p:cNvPr id="13" name="TextBox 12">
            <a:extLst>
              <a:ext uri="{FF2B5EF4-FFF2-40B4-BE49-F238E27FC236}">
                <a16:creationId xmlns:a16="http://schemas.microsoft.com/office/drawing/2014/main" id="{17DB53B2-9FE4-CD0A-2D84-178D21FE0108}"/>
              </a:ext>
            </a:extLst>
          </p:cNvPr>
          <p:cNvSpPr txBox="1"/>
          <p:nvPr/>
        </p:nvSpPr>
        <p:spPr>
          <a:xfrm>
            <a:off x="6680790" y="2067481"/>
            <a:ext cx="3483936" cy="276999"/>
          </a:xfrm>
          <a:prstGeom prst="rect">
            <a:avLst/>
          </a:prstGeom>
          <a:noFill/>
        </p:spPr>
        <p:txBody>
          <a:bodyPr wrap="square" rtlCol="0">
            <a:spAutoFit/>
          </a:bodyPr>
          <a:lstStyle/>
          <a:p>
            <a:pPr algn="ctr" defTabSz="623853" fontAlgn="base">
              <a:spcBef>
                <a:spcPts val="300"/>
              </a:spcBef>
              <a:spcAft>
                <a:spcPts val="300"/>
              </a:spcAft>
              <a:buClr>
                <a:srgbClr val="000000"/>
              </a:buClr>
            </a:pPr>
            <a:r>
              <a:rPr lang="en-US" sz="1200" i="1" dirty="0">
                <a:cs typeface="Times New Roman" pitchFamily="18" charset="0"/>
              </a:rPr>
              <a:t>Year 1 is period #1, Year 2 is period #2, etc.</a:t>
            </a:r>
          </a:p>
        </p:txBody>
      </p:sp>
    </p:spTree>
    <p:extLst>
      <p:ext uri="{BB962C8B-B14F-4D97-AF65-F5344CB8AC3E}">
        <p14:creationId xmlns:p14="http://schemas.microsoft.com/office/powerpoint/2010/main" val="38791985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754938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Discount Rate</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F6DDE536-1E83-49C5-8F78-0094FF87BEA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3</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53981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4497"/>
              <a:gd name="adj2" fmla="val 24387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Because money today could be earning interest, a dollar received now is worth more than a dollar received in the future.</a:t>
            </a:r>
          </a:p>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To reflect this principle, a discount rate is used to discount future net cash flows to present value.</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A company usually has a standard assumed discount rate provided by the Finance department</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This discount rate is often calculated based on the Weighted Average Cost of Capital (WACC), that is to say the cost of receiving money from your bank and shareholders</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In our example, the company has a discount rate R of 9%</a:t>
            </a:r>
          </a:p>
        </p:txBody>
      </p:sp>
    </p:spTree>
    <p:extLst>
      <p:ext uri="{BB962C8B-B14F-4D97-AF65-F5344CB8AC3E}">
        <p14:creationId xmlns:p14="http://schemas.microsoft.com/office/powerpoint/2010/main" val="1264531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GB" sz="2400" kern="0" dirty="0"/>
              <a:t>Weighted Average Cost of Capital (W</a:t>
            </a:r>
            <a:r>
              <a:rPr lang="en-US" sz="2400" kern="0" dirty="0"/>
              <a:t>ACC)</a:t>
            </a:r>
            <a:br>
              <a:rPr lang="en-US" sz="2400" kern="0" dirty="0"/>
            </a:br>
            <a:r>
              <a:rPr lang="en-US" b="0" kern="0" dirty="0"/>
              <a:t>Excel document automatically calculating WACC</a:t>
            </a:r>
          </a:p>
        </p:txBody>
      </p:sp>
      <p:sp>
        <p:nvSpPr>
          <p:cNvPr id="8" name="Slide Number Placeholder 7">
            <a:extLst>
              <a:ext uri="{FF2B5EF4-FFF2-40B4-BE49-F238E27FC236}">
                <a16:creationId xmlns:a16="http://schemas.microsoft.com/office/drawing/2014/main" id="{F6DDE536-1E83-49C5-8F78-0094FF87BEA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4</a:t>
            </a:fld>
            <a:endParaRPr lang="en-US" sz="1000" dirty="0">
              <a:solidFill>
                <a:srgbClr val="ADAFBB"/>
              </a:solidFill>
            </a:endParaRPr>
          </a:p>
        </p:txBody>
      </p:sp>
      <p:pic>
        <p:nvPicPr>
          <p:cNvPr id="12" name="Picture 11">
            <a:extLst>
              <a:ext uri="{FF2B5EF4-FFF2-40B4-BE49-F238E27FC236}">
                <a16:creationId xmlns:a16="http://schemas.microsoft.com/office/drawing/2014/main" id="{C5DF471F-896F-88B8-C251-A1797398240F}"/>
              </a:ext>
            </a:extLst>
          </p:cNvPr>
          <p:cNvPicPr>
            <a:picLocks noChangeAspect="1"/>
          </p:cNvPicPr>
          <p:nvPr/>
        </p:nvPicPr>
        <p:blipFill>
          <a:blip r:embed="rId6"/>
          <a:stretch>
            <a:fillRect/>
          </a:stretch>
        </p:blipFill>
        <p:spPr>
          <a:xfrm>
            <a:off x="3401359" y="1764557"/>
            <a:ext cx="5298558" cy="4560043"/>
          </a:xfrm>
          <a:prstGeom prst="rect">
            <a:avLst/>
          </a:prstGeom>
          <a:ln>
            <a:noFill/>
          </a:ln>
          <a:effectLst>
            <a:outerShdw blurRad="292100" dist="139700" dir="2700000" algn="tl" rotWithShape="0">
              <a:srgbClr val="333333">
                <a:alpha val="65000"/>
              </a:srgbClr>
            </a:outerShdw>
          </a:effectLst>
        </p:spPr>
      </p:pic>
      <p:pic>
        <p:nvPicPr>
          <p:cNvPr id="13" name="Picture 6" descr="Download Microsoft Excel Logo in SVG Vector or PNG File Format - Logo.wine">
            <a:extLst>
              <a:ext uri="{FF2B5EF4-FFF2-40B4-BE49-F238E27FC236}">
                <a16:creationId xmlns:a16="http://schemas.microsoft.com/office/drawing/2014/main" id="{7FF1D3BF-FE81-6ACD-FB63-FE430F60D24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33781" y="1456444"/>
            <a:ext cx="1132272" cy="754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14076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GB" sz="2400" kern="0" dirty="0"/>
              <a:t>Weighted Average Cost of Capital (W</a:t>
            </a:r>
            <a:r>
              <a:rPr lang="en-US" sz="2400" kern="0" dirty="0"/>
              <a:t>ACC)</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F6DDE536-1E83-49C5-8F78-0094FF87BEA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 name="TextBox 1">
            <a:extLst>
              <a:ext uri="{FF2B5EF4-FFF2-40B4-BE49-F238E27FC236}">
                <a16:creationId xmlns:a16="http://schemas.microsoft.com/office/drawing/2014/main" id="{8414C60D-08E4-7F40-C6A9-C6B6A83B6874}"/>
              </a:ext>
            </a:extLst>
          </p:cNvPr>
          <p:cNvSpPr txBox="1"/>
          <p:nvPr/>
        </p:nvSpPr>
        <p:spPr>
          <a:xfrm>
            <a:off x="627321" y="1616149"/>
            <a:ext cx="10959842" cy="2462213"/>
          </a:xfrm>
          <a:prstGeom prst="rect">
            <a:avLst/>
          </a:prstGeom>
          <a:noFill/>
        </p:spPr>
        <p:txBody>
          <a:bodyPr wrap="square" rtlCol="0">
            <a:spAutoFit/>
          </a:bodyPr>
          <a:lstStyle/>
          <a:p>
            <a:r>
              <a:rPr lang="en-GB" sz="1400" dirty="0"/>
              <a:t>Weighted average cost of capital (WACC) represents a firm’s cost of capital from all sources, including common stock, preferred stock, bonds, and other forms of debt. </a:t>
            </a:r>
          </a:p>
          <a:p>
            <a:endParaRPr lang="en-GB" sz="1400" dirty="0"/>
          </a:p>
          <a:p>
            <a:r>
              <a:rPr lang="en-GB" sz="1400" dirty="0"/>
              <a:t>In other words, WACC measures a company’s cost to borrow money. The WACC formula uses both the company’s debt and equity in its calculation. And each source of capital is proportionally weighted.</a:t>
            </a:r>
          </a:p>
          <a:p>
            <a:endParaRPr lang="en-GB" sz="1400" dirty="0"/>
          </a:p>
          <a:p>
            <a:r>
              <a:rPr lang="en-GB" sz="1400" dirty="0"/>
              <a:t>WACC is often the discount rate that a company uses to estimate its net present value of its future cash flow.</a:t>
            </a:r>
          </a:p>
          <a:p>
            <a:endParaRPr lang="en-GB" sz="1400" dirty="0"/>
          </a:p>
          <a:p>
            <a:r>
              <a:rPr lang="en-GB" sz="1400" b="1" dirty="0"/>
              <a:t>WACC formula and calculation:</a:t>
            </a:r>
          </a:p>
          <a:p>
            <a:endParaRPr lang="en-GB" sz="1400" dirty="0"/>
          </a:p>
          <a:p>
            <a:endParaRPr lang="en-US" sz="1400" dirty="0"/>
          </a:p>
        </p:txBody>
      </p:sp>
      <p:sp>
        <p:nvSpPr>
          <p:cNvPr id="4" name="Rectangle 3">
            <a:extLst>
              <a:ext uri="{FF2B5EF4-FFF2-40B4-BE49-F238E27FC236}">
                <a16:creationId xmlns:a16="http://schemas.microsoft.com/office/drawing/2014/main" id="{D929F7D0-C792-47E3-3AE3-B051C34774A6}"/>
              </a:ext>
            </a:extLst>
          </p:cNvPr>
          <p:cNvSpPr>
            <a:spLocks noChangeArrowheads="1"/>
          </p:cNvSpPr>
          <p:nvPr/>
        </p:nvSpPr>
        <p:spPr bwMode="auto">
          <a:xfrm>
            <a:off x="868047" y="3841618"/>
            <a:ext cx="1607842" cy="836703"/>
          </a:xfrm>
          <a:prstGeom prst="rect">
            <a:avLst/>
          </a:prstGeom>
          <a:solidFill>
            <a:schemeClr val="accent2"/>
          </a:solidFill>
          <a:ln w="6350" algn="ctr">
            <a:no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4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WACC</a:t>
            </a:r>
          </a:p>
        </p:txBody>
      </p:sp>
      <p:sp>
        <p:nvSpPr>
          <p:cNvPr id="5" name="Rectangle 4">
            <a:extLst>
              <a:ext uri="{FF2B5EF4-FFF2-40B4-BE49-F238E27FC236}">
                <a16:creationId xmlns:a16="http://schemas.microsoft.com/office/drawing/2014/main" id="{CB024F49-B97F-C904-6F46-1AA5BDBEDDD1}"/>
              </a:ext>
            </a:extLst>
          </p:cNvPr>
          <p:cNvSpPr>
            <a:spLocks noChangeArrowheads="1"/>
          </p:cNvSpPr>
          <p:nvPr/>
        </p:nvSpPr>
        <p:spPr bwMode="auto">
          <a:xfrm>
            <a:off x="3194294" y="3841618"/>
            <a:ext cx="1607842" cy="836703"/>
          </a:xfrm>
          <a:prstGeom prst="rect">
            <a:avLst/>
          </a:prstGeom>
          <a:solidFill>
            <a:schemeClr val="tx1"/>
          </a:solidFill>
          <a:ln w="6350" algn="ctr">
            <a:noFill/>
            <a:miter lim="800000"/>
            <a:headEnd type="none" w="sm" len="sm"/>
            <a:tailEnd type="none" w="med" len="lg"/>
          </a:ln>
          <a:effectLst/>
        </p:spPr>
        <p:txBody>
          <a:bodyPr lIns="18000" tIns="18000" rIns="18000" bIns="18000" anchor="ctr"/>
          <a:lstStyle/>
          <a:p>
            <a:pPr algn="ctr"/>
            <a:r>
              <a:rPr lang="en-US" altLang="ja-JP" sz="1400" b="1" dirty="0">
                <a:solidFill>
                  <a:srgbClr val="FFFFFF"/>
                </a:solidFill>
                <a:latin typeface="Arial" panose="020B0604020202020204"/>
                <a:ea typeface="ＭＳ Ｐゴシック" pitchFamily="50" charset="-128"/>
              </a:rPr>
              <a:t>E/V x Re</a:t>
            </a:r>
          </a:p>
        </p:txBody>
      </p:sp>
      <p:sp>
        <p:nvSpPr>
          <p:cNvPr id="6" name="Rectangle 5">
            <a:extLst>
              <a:ext uri="{FF2B5EF4-FFF2-40B4-BE49-F238E27FC236}">
                <a16:creationId xmlns:a16="http://schemas.microsoft.com/office/drawing/2014/main" id="{36513C13-8E63-7943-2584-AF8D5A5ACAEE}"/>
              </a:ext>
            </a:extLst>
          </p:cNvPr>
          <p:cNvSpPr>
            <a:spLocks noChangeArrowheads="1"/>
          </p:cNvSpPr>
          <p:nvPr/>
        </p:nvSpPr>
        <p:spPr bwMode="auto">
          <a:xfrm>
            <a:off x="5520541" y="3841618"/>
            <a:ext cx="1607842" cy="836703"/>
          </a:xfrm>
          <a:prstGeom prst="rect">
            <a:avLst/>
          </a:prstGeom>
          <a:solidFill>
            <a:schemeClr val="tx1"/>
          </a:solidFill>
          <a:ln w="6350" algn="ctr">
            <a:noFill/>
            <a:miter lim="800000"/>
            <a:headEnd type="none" w="sm" len="sm"/>
            <a:tailEnd type="none" w="med" len="lg"/>
          </a:ln>
          <a:effectLst/>
        </p:spPr>
        <p:txBody>
          <a:bodyPr lIns="18000" tIns="18000" rIns="18000" bIns="18000" anchor="ctr"/>
          <a:lstStyle/>
          <a:p>
            <a:pPr algn="ctr"/>
            <a:r>
              <a:rPr lang="en-US" altLang="ja-JP" sz="1400" b="1" dirty="0">
                <a:solidFill>
                  <a:srgbClr val="FFFFFF"/>
                </a:solidFill>
                <a:latin typeface="Arial" panose="020B0604020202020204"/>
                <a:ea typeface="ＭＳ Ｐゴシック" pitchFamily="50" charset="-128"/>
              </a:rPr>
              <a:t>D/V x Rd x (1-Tc)</a:t>
            </a:r>
          </a:p>
        </p:txBody>
      </p:sp>
      <p:sp>
        <p:nvSpPr>
          <p:cNvPr id="7" name="TextBox 6">
            <a:extLst>
              <a:ext uri="{FF2B5EF4-FFF2-40B4-BE49-F238E27FC236}">
                <a16:creationId xmlns:a16="http://schemas.microsoft.com/office/drawing/2014/main" id="{626CDA95-A634-C1C1-671E-96BC457E19E9}"/>
              </a:ext>
            </a:extLst>
          </p:cNvPr>
          <p:cNvSpPr txBox="1"/>
          <p:nvPr/>
        </p:nvSpPr>
        <p:spPr>
          <a:xfrm>
            <a:off x="2529053" y="4003104"/>
            <a:ext cx="596660" cy="584775"/>
          </a:xfrm>
          <a:prstGeom prst="rect">
            <a:avLst/>
          </a:prstGeom>
          <a:noFill/>
        </p:spPr>
        <p:txBody>
          <a:bodyPr wrap="square" rtlCol="0">
            <a:spAutoFit/>
          </a:bodyPr>
          <a:lstStyle/>
          <a:p>
            <a:pPr algn="ctr"/>
            <a:r>
              <a:rPr lang="en-US" sz="3200" dirty="0"/>
              <a:t>=</a:t>
            </a:r>
          </a:p>
        </p:txBody>
      </p:sp>
      <p:sp>
        <p:nvSpPr>
          <p:cNvPr id="9" name="TextBox 8">
            <a:extLst>
              <a:ext uri="{FF2B5EF4-FFF2-40B4-BE49-F238E27FC236}">
                <a16:creationId xmlns:a16="http://schemas.microsoft.com/office/drawing/2014/main" id="{D08DEB96-5B3B-B61B-2709-74C1B2615638}"/>
              </a:ext>
            </a:extLst>
          </p:cNvPr>
          <p:cNvSpPr txBox="1"/>
          <p:nvPr/>
        </p:nvSpPr>
        <p:spPr>
          <a:xfrm>
            <a:off x="4828184" y="4003104"/>
            <a:ext cx="596660" cy="584775"/>
          </a:xfrm>
          <a:prstGeom prst="rect">
            <a:avLst/>
          </a:prstGeom>
          <a:noFill/>
        </p:spPr>
        <p:txBody>
          <a:bodyPr wrap="square" rtlCol="0">
            <a:spAutoFit/>
          </a:bodyPr>
          <a:lstStyle/>
          <a:p>
            <a:pPr algn="ctr"/>
            <a:r>
              <a:rPr lang="en-US" sz="3200" dirty="0"/>
              <a:t>+</a:t>
            </a:r>
          </a:p>
        </p:txBody>
      </p:sp>
      <p:sp>
        <p:nvSpPr>
          <p:cNvPr id="10" name="TextBox 9">
            <a:extLst>
              <a:ext uri="{FF2B5EF4-FFF2-40B4-BE49-F238E27FC236}">
                <a16:creationId xmlns:a16="http://schemas.microsoft.com/office/drawing/2014/main" id="{80508C3F-A149-E856-94F0-9477F9DB9D93}"/>
              </a:ext>
            </a:extLst>
          </p:cNvPr>
          <p:cNvSpPr txBox="1"/>
          <p:nvPr/>
        </p:nvSpPr>
        <p:spPr>
          <a:xfrm>
            <a:off x="627321" y="4946683"/>
            <a:ext cx="4797523" cy="1600438"/>
          </a:xfrm>
          <a:prstGeom prst="rect">
            <a:avLst/>
          </a:prstGeom>
          <a:noFill/>
        </p:spPr>
        <p:txBody>
          <a:bodyPr wrap="square" rtlCol="0">
            <a:spAutoFit/>
          </a:bodyPr>
          <a:lstStyle/>
          <a:p>
            <a:r>
              <a:rPr lang="en-GB" sz="1400" b="1" dirty="0"/>
              <a:t>Where:</a:t>
            </a:r>
          </a:p>
          <a:p>
            <a:r>
              <a:rPr lang="en-GB" sz="1400" dirty="0"/>
              <a:t>E=Market value of the firm’s equity</a:t>
            </a:r>
          </a:p>
          <a:p>
            <a:r>
              <a:rPr lang="en-GB" sz="1400" dirty="0"/>
              <a:t>D=Market value of the firm’s debt</a:t>
            </a:r>
          </a:p>
          <a:p>
            <a:r>
              <a:rPr lang="en-GB" sz="1400" dirty="0"/>
              <a:t>V=E+D</a:t>
            </a:r>
          </a:p>
          <a:p>
            <a:r>
              <a:rPr lang="en-GB" sz="1400" dirty="0"/>
              <a:t>Re=Cost of equity</a:t>
            </a:r>
          </a:p>
          <a:p>
            <a:r>
              <a:rPr lang="en-GB" sz="1400" dirty="0"/>
              <a:t>Rd=Cost of debt</a:t>
            </a:r>
          </a:p>
          <a:p>
            <a:r>
              <a:rPr lang="en-GB" sz="1400" dirty="0"/>
              <a:t>Tc=Corporate tax rate</a:t>
            </a:r>
            <a:endParaRPr lang="en-US" sz="1400" dirty="0"/>
          </a:p>
        </p:txBody>
      </p:sp>
    </p:spTree>
    <p:extLst>
      <p:ext uri="{BB962C8B-B14F-4D97-AF65-F5344CB8AC3E}">
        <p14:creationId xmlns:p14="http://schemas.microsoft.com/office/powerpoint/2010/main" val="303942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96638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kern="0" dirty="0"/>
              <a:t>Period</a:t>
            </a:r>
            <a:br>
              <a:rPr lang="en-US" kern="0" dirty="0"/>
            </a:br>
            <a:r>
              <a:rPr lang="en-US" b="0" kern="0" dirty="0"/>
              <a:t>Description</a:t>
            </a:r>
          </a:p>
        </p:txBody>
      </p:sp>
      <p:sp>
        <p:nvSpPr>
          <p:cNvPr id="8" name="Slide Number Placeholder 7">
            <a:extLst>
              <a:ext uri="{FF2B5EF4-FFF2-40B4-BE49-F238E27FC236}">
                <a16:creationId xmlns:a16="http://schemas.microsoft.com/office/drawing/2014/main" id="{6D548919-B77E-459E-9328-56E7AC60A29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6</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93310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9490"/>
              <a:gd name="adj2" fmla="val 28208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 order to calculate your Net Present Value, you will also have to use the Periods. Year 1 </a:t>
            </a:r>
            <a:r>
              <a:rPr lang="en-US" sz="1050" b="1">
                <a:solidFill>
                  <a:srgbClr val="0C2870"/>
                </a:solidFill>
                <a:latin typeface="Arial" charset="0"/>
                <a:cs typeface="Times New Roman" pitchFamily="18" charset="0"/>
              </a:rPr>
              <a:t>is period </a:t>
            </a:r>
            <a:r>
              <a:rPr lang="en-US" sz="1050" b="1" dirty="0">
                <a:solidFill>
                  <a:srgbClr val="0C2870"/>
                </a:solidFill>
                <a:latin typeface="Arial" charset="0"/>
                <a:cs typeface="Times New Roman" pitchFamily="18" charset="0"/>
              </a:rPr>
              <a:t>1, Year 2 </a:t>
            </a:r>
            <a:r>
              <a:rPr lang="en-US" sz="1050" b="1">
                <a:solidFill>
                  <a:srgbClr val="0C2870"/>
                </a:solidFill>
                <a:latin typeface="Arial" charset="0"/>
                <a:cs typeface="Times New Roman" pitchFamily="18" charset="0"/>
              </a:rPr>
              <a:t>is period </a:t>
            </a:r>
            <a:r>
              <a:rPr lang="en-US" sz="1050" b="1" dirty="0">
                <a:solidFill>
                  <a:srgbClr val="0C2870"/>
                </a:solidFill>
                <a:latin typeface="Arial" charset="0"/>
                <a:cs typeface="Times New Roman" pitchFamily="18" charset="0"/>
              </a:rPr>
              <a:t>2, etc.</a:t>
            </a:r>
          </a:p>
        </p:txBody>
      </p:sp>
    </p:spTree>
    <p:extLst>
      <p:ext uri="{BB962C8B-B14F-4D97-AF65-F5344CB8AC3E}">
        <p14:creationId xmlns:p14="http://schemas.microsoft.com/office/powerpoint/2010/main" val="3081362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70500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Payback Period</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1C702CE4-C0B1-46BE-BA60-D4CF5D35EF8E}"/>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7</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5181164"/>
            <a:ext cx="9681643" cy="187566"/>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3040"/>
              <a:gd name="adj2" fmla="val 31319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a:t>
            </a:r>
            <a:r>
              <a:rPr lang="en-US" sz="1050" b="1">
                <a:solidFill>
                  <a:srgbClr val="0C2870"/>
                </a:solidFill>
                <a:latin typeface="Arial" charset="0"/>
                <a:cs typeface="Times New Roman" pitchFamily="18" charset="0"/>
              </a:rPr>
              <a:t>Payback Period is </a:t>
            </a:r>
            <a:r>
              <a:rPr lang="en-US" sz="1050" b="1" dirty="0">
                <a:solidFill>
                  <a:srgbClr val="0C2870"/>
                </a:solidFill>
                <a:latin typeface="Arial" charset="0"/>
                <a:cs typeface="Times New Roman" pitchFamily="18" charset="0"/>
              </a:rPr>
              <a:t>the amount of time (usually measured in years) it takes to recover the project investment. In other words, it is the breakeven point. In our example, it is easy to see that we needed more than 3 </a:t>
            </a:r>
            <a:r>
              <a:rPr lang="en-US" sz="1050" b="1">
                <a:solidFill>
                  <a:srgbClr val="0C2870"/>
                </a:solidFill>
                <a:latin typeface="Arial" charset="0"/>
                <a:cs typeface="Times New Roman" pitchFamily="18" charset="0"/>
              </a:rPr>
              <a:t>years to break even . </a:t>
            </a:r>
            <a:r>
              <a:rPr lang="en-US" sz="1050" b="1" dirty="0">
                <a:solidFill>
                  <a:srgbClr val="0C2870"/>
                </a:solidFill>
                <a:latin typeface="Arial" charset="0"/>
                <a:cs typeface="Times New Roman" pitchFamily="18" charset="0"/>
              </a:rPr>
              <a:t>To know exactly </a:t>
            </a:r>
            <a:r>
              <a:rPr lang="en-US" sz="1050" b="1">
                <a:solidFill>
                  <a:srgbClr val="0C2870"/>
                </a:solidFill>
                <a:latin typeface="Arial" charset="0"/>
                <a:cs typeface="Times New Roman" pitchFamily="18" charset="0"/>
              </a:rPr>
              <a:t>how much longer, </a:t>
            </a:r>
            <a:r>
              <a:rPr lang="en-US" sz="1050" b="1" dirty="0">
                <a:solidFill>
                  <a:srgbClr val="0C2870"/>
                </a:solidFill>
                <a:latin typeface="Arial" charset="0"/>
                <a:cs typeface="Times New Roman" pitchFamily="18" charset="0"/>
              </a:rPr>
              <a:t>we need to create 3 rows that will help us calculate the exact breakeven point.</a:t>
            </a:r>
          </a:p>
        </p:txBody>
      </p:sp>
    </p:spTree>
    <p:extLst>
      <p:ext uri="{BB962C8B-B14F-4D97-AF65-F5344CB8AC3E}">
        <p14:creationId xmlns:p14="http://schemas.microsoft.com/office/powerpoint/2010/main" val="6846788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49334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kern="0" dirty="0"/>
              <a:t>The 3 required rows to </a:t>
            </a:r>
            <a:r>
              <a:rPr lang="en-US" kern="0"/>
              <a:t>calculate payback period</a:t>
            </a:r>
            <a:br>
              <a:rPr lang="en-US" kern="0" dirty="0"/>
            </a:br>
            <a:r>
              <a:rPr lang="en-US" b="0" kern="0"/>
              <a:t>Description</a:t>
            </a:r>
            <a:endParaRPr lang="en-US" b="0" kern="0" dirty="0"/>
          </a:p>
        </p:txBody>
      </p:sp>
      <p:sp>
        <p:nvSpPr>
          <p:cNvPr id="8" name="Slide Number Placeholder 7">
            <a:extLst>
              <a:ext uri="{FF2B5EF4-FFF2-40B4-BE49-F238E27FC236}">
                <a16:creationId xmlns:a16="http://schemas.microsoft.com/office/drawing/2014/main" id="{1057F557-C1F0-4290-9E49-5C82935E5CD2}"/>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8</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5365721"/>
            <a:ext cx="9681643" cy="631955"/>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3040"/>
              <a:gd name="adj2" fmla="val 32322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2"/>
              </a:buClr>
            </a:pPr>
            <a:r>
              <a:rPr lang="en-US" sz="900" b="1">
                <a:solidFill>
                  <a:srgbClr val="0C2870"/>
                </a:solidFill>
                <a:latin typeface="Arial" charset="0"/>
                <a:cs typeface="Times New Roman" pitchFamily="18" charset="0"/>
              </a:rPr>
              <a:t>To calculate the payback period</a:t>
            </a:r>
            <a:r>
              <a:rPr lang="en-US" sz="900" b="1" dirty="0">
                <a:solidFill>
                  <a:srgbClr val="0C2870"/>
                </a:solidFill>
                <a:latin typeface="Arial" charset="0"/>
                <a:cs typeface="Times New Roman" pitchFamily="18" charset="0"/>
              </a:rPr>
              <a:t>, you need to create:</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cs typeface="Times New Roman" pitchFamily="18" charset="0"/>
              </a:rPr>
              <a:t>A row to calculate the number of years of negative cumulative cash flow</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cs typeface="Times New Roman" pitchFamily="18" charset="0"/>
              </a:rPr>
              <a:t>A row to calculate the fraction for each </a:t>
            </a:r>
            <a:r>
              <a:rPr lang="en-US" sz="900" b="1">
                <a:solidFill>
                  <a:srgbClr val="0C2870"/>
                </a:solidFill>
                <a:latin typeface="Arial" charset="0"/>
                <a:cs typeface="Times New Roman" pitchFamily="18" charset="0"/>
              </a:rPr>
              <a:t>year that does not </a:t>
            </a:r>
            <a:r>
              <a:rPr lang="en-US" sz="900" b="1" dirty="0">
                <a:solidFill>
                  <a:srgbClr val="0C2870"/>
                </a:solidFill>
                <a:latin typeface="Arial" charset="0"/>
                <a:cs typeface="Times New Roman" pitchFamily="18" charset="0"/>
              </a:rPr>
              <a:t>have a negative cumulative cash flow</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ea typeface="ＭＳ Ｐゴシック" pitchFamily="50" charset="-128"/>
                <a:cs typeface="Times New Roman" pitchFamily="18" charset="0"/>
              </a:rPr>
              <a:t>A row that will identify the </a:t>
            </a:r>
            <a:r>
              <a:rPr lang="en-US" sz="900" b="1">
                <a:solidFill>
                  <a:srgbClr val="0C2870"/>
                </a:solidFill>
                <a:latin typeface="Arial" charset="0"/>
                <a:ea typeface="ＭＳ Ｐゴシック" pitchFamily="50" charset="-128"/>
                <a:cs typeface="Times New Roman" pitchFamily="18" charset="0"/>
              </a:rPr>
              <a:t>relevant fraction </a:t>
            </a:r>
            <a:r>
              <a:rPr lang="en-US" sz="900" b="1" dirty="0">
                <a:solidFill>
                  <a:srgbClr val="0C2870"/>
                </a:solidFill>
                <a:latin typeface="Arial" charset="0"/>
                <a:ea typeface="ＭＳ Ｐゴシック" pitchFamily="50" charset="-128"/>
                <a:cs typeface="Times New Roman" pitchFamily="18" charset="0"/>
              </a:rPr>
              <a:t>that will be added to the </a:t>
            </a:r>
            <a:r>
              <a:rPr lang="en-US" sz="900" b="1">
                <a:solidFill>
                  <a:srgbClr val="0C2870"/>
                </a:solidFill>
                <a:latin typeface="Arial" charset="0"/>
                <a:ea typeface="ＭＳ Ｐゴシック" pitchFamily="50" charset="-128"/>
                <a:cs typeface="Times New Roman" pitchFamily="18" charset="0"/>
              </a:rPr>
              <a:t>number for the negative </a:t>
            </a:r>
            <a:r>
              <a:rPr lang="en-US" sz="900" b="1" dirty="0">
                <a:solidFill>
                  <a:srgbClr val="0C2870"/>
                </a:solidFill>
                <a:latin typeface="Arial" charset="0"/>
                <a:cs typeface="Times New Roman" pitchFamily="18" charset="0"/>
              </a:rPr>
              <a:t>cumulative </a:t>
            </a:r>
            <a:r>
              <a:rPr lang="en-US" sz="900" b="1" dirty="0">
                <a:solidFill>
                  <a:srgbClr val="0C2870"/>
                </a:solidFill>
                <a:latin typeface="Arial" charset="0"/>
                <a:ea typeface="ＭＳ Ｐゴシック" pitchFamily="50" charset="-128"/>
                <a:cs typeface="Times New Roman" pitchFamily="18" charset="0"/>
              </a:rPr>
              <a:t>cash flow. In our example, the fraction that we need is the </a:t>
            </a:r>
            <a:r>
              <a:rPr lang="en-US" sz="900" b="1">
                <a:solidFill>
                  <a:srgbClr val="0C2870"/>
                </a:solidFill>
                <a:latin typeface="Arial" charset="0"/>
                <a:ea typeface="ＭＳ Ｐゴシック" pitchFamily="50" charset="-128"/>
                <a:cs typeface="Times New Roman" pitchFamily="18" charset="0"/>
              </a:rPr>
              <a:t>one for Year </a:t>
            </a:r>
            <a:r>
              <a:rPr lang="en-US" sz="900" b="1" dirty="0">
                <a:solidFill>
                  <a:srgbClr val="0C2870"/>
                </a:solidFill>
                <a:latin typeface="Arial" charset="0"/>
                <a:ea typeface="ＭＳ Ｐゴシック" pitchFamily="50" charset="-128"/>
                <a:cs typeface="Times New Roman" pitchFamily="18" charset="0"/>
              </a:rPr>
              <a:t>4.</a:t>
            </a:r>
            <a:endParaRPr lang="en-US" sz="9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482510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29200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Payback Period</a:t>
            </a:r>
            <a:br>
              <a:rPr lang="en-US" sz="2400" kern="0" dirty="0"/>
            </a:br>
            <a:r>
              <a:rPr lang="en-US" b="0" kern="0" dirty="0"/>
              <a:t>Description</a:t>
            </a:r>
          </a:p>
        </p:txBody>
      </p:sp>
      <p:sp>
        <p:nvSpPr>
          <p:cNvPr id="9" name="Slide Number Placeholder 7">
            <a:extLst>
              <a:ext uri="{FF2B5EF4-FFF2-40B4-BE49-F238E27FC236}">
                <a16:creationId xmlns:a16="http://schemas.microsoft.com/office/drawing/2014/main" id="{1234350B-3A6A-4220-BEB8-BACDF1281E2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9</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9F0433C9-D049-44E0-8A1F-973AC76F7C7C}"/>
              </a:ext>
            </a:extLst>
          </p:cNvPr>
          <p:cNvSpPr/>
          <p:nvPr/>
        </p:nvSpPr>
        <p:spPr bwMode="auto">
          <a:xfrm>
            <a:off x="1255179" y="516117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4288"/>
              <a:gd name="adj2" fmla="val 31147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ayback period will simply be your number of negative cumulative cash flow + the fraction of the first year of positive </a:t>
            </a:r>
            <a:r>
              <a:rPr lang="en-US" sz="1050" b="1">
                <a:solidFill>
                  <a:srgbClr val="0C2870"/>
                </a:solidFill>
                <a:latin typeface="Arial" charset="0"/>
                <a:cs typeface="Times New Roman" pitchFamily="18" charset="0"/>
              </a:rPr>
              <a:t>cash flow</a:t>
            </a:r>
            <a:r>
              <a:rPr lang="en-US" sz="1050" b="1" dirty="0">
                <a:solidFill>
                  <a:srgbClr val="0C2870"/>
                </a:solidFill>
                <a:latin typeface="Arial" charset="0"/>
                <a:cs typeface="Times New Roman" pitchFamily="18" charset="0"/>
              </a:rPr>
              <a:t>.</a:t>
            </a:r>
          </a:p>
        </p:txBody>
      </p:sp>
    </p:spTree>
    <p:extLst>
      <p:ext uri="{BB962C8B-B14F-4D97-AF65-F5344CB8AC3E}">
        <p14:creationId xmlns:p14="http://schemas.microsoft.com/office/powerpoint/2010/main" val="2826011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55093"/>
          </a:xfrm>
        </p:spPr>
        <p:txBody>
          <a:bodyPr>
            <a:spAutoFit/>
          </a:bodyPr>
          <a:lstStyle/>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Overvie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Cash Flo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Cumulative Cash Flo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Net Present Value (NPV)</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Payback Period</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Internal Rate of Return (IRR)</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Return on Investment (ROI)</a:t>
            </a:r>
          </a:p>
        </p:txBody>
      </p:sp>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Tree>
    <p:extLst>
      <p:ext uri="{BB962C8B-B14F-4D97-AF65-F5344CB8AC3E}">
        <p14:creationId xmlns:p14="http://schemas.microsoft.com/office/powerpoint/2010/main" val="26743110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47553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Internal Rate of Return (IRR)</a:t>
            </a:r>
            <a:br>
              <a:rPr lang="en-US" sz="2400" kern="0" dirty="0"/>
            </a:br>
            <a:r>
              <a:rPr lang="en-US" b="0" kern="0" dirty="0"/>
              <a:t>Description</a:t>
            </a:r>
          </a:p>
        </p:txBody>
      </p:sp>
      <p:sp>
        <p:nvSpPr>
          <p:cNvPr id="9" name="Slide Number Placeholder 7">
            <a:extLst>
              <a:ext uri="{FF2B5EF4-FFF2-40B4-BE49-F238E27FC236}">
                <a16:creationId xmlns:a16="http://schemas.microsoft.com/office/drawing/2014/main" id="{AE524FE1-07CB-4BDF-BE7C-F8CD11F7F042}"/>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0</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9F0433C9-D049-44E0-8A1F-973AC76F7C7C}"/>
              </a:ext>
            </a:extLst>
          </p:cNvPr>
          <p:cNvSpPr/>
          <p:nvPr/>
        </p:nvSpPr>
        <p:spPr bwMode="auto">
          <a:xfrm>
            <a:off x="1255179" y="5984805"/>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842"/>
              <a:gd name="adj2" fmla="val 3908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2"/>
              </a:buClr>
            </a:pPr>
            <a:r>
              <a:rPr lang="en-US" sz="900" b="1" dirty="0">
                <a:solidFill>
                  <a:srgbClr val="0C2870"/>
                </a:solidFill>
                <a:latin typeface="Arial" charset="0"/>
                <a:cs typeface="Times New Roman" pitchFamily="18" charset="0"/>
              </a:rPr>
              <a:t>IRR is the rate of growth a project is expected </a:t>
            </a:r>
            <a:r>
              <a:rPr lang="en-US" sz="900" b="1">
                <a:solidFill>
                  <a:srgbClr val="0C2870"/>
                </a:solidFill>
                <a:latin typeface="Arial" charset="0"/>
                <a:cs typeface="Times New Roman" pitchFamily="18" charset="0"/>
              </a:rPr>
              <a:t>to generate</a:t>
            </a:r>
            <a:r>
              <a:rPr lang="en-US" sz="900" b="1" dirty="0">
                <a:solidFill>
                  <a:srgbClr val="0C2870"/>
                </a:solidFill>
                <a:latin typeface="Arial" charset="0"/>
                <a:cs typeface="Times New Roman" pitchFamily="18" charset="0"/>
              </a:rPr>
              <a:t>.</a:t>
            </a:r>
          </a:p>
          <a:p>
            <a:pPr defTabSz="623853" fontAlgn="base">
              <a:spcBef>
                <a:spcPts val="300"/>
              </a:spcBef>
              <a:spcAft>
                <a:spcPts val="300"/>
              </a:spcAft>
              <a:buClr>
                <a:schemeClr val="tx2"/>
              </a:buClr>
            </a:pPr>
            <a:r>
              <a:rPr lang="en-US" sz="900" b="1" dirty="0">
                <a:solidFill>
                  <a:srgbClr val="0C2870"/>
                </a:solidFill>
                <a:latin typeface="Arial" charset="0"/>
                <a:cs typeface="Times New Roman" pitchFamily="18" charset="0"/>
              </a:rPr>
              <a:t>To calculate IRR, you simply need to:</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Use the </a:t>
            </a:r>
            <a:r>
              <a:rPr lang="en-US" sz="900" b="1">
                <a:solidFill>
                  <a:srgbClr val="0C2870"/>
                </a:solidFill>
                <a:latin typeface="Arial" charset="0"/>
                <a:cs typeface="Times New Roman" pitchFamily="18" charset="0"/>
              </a:rPr>
              <a:t>IRR Excel formula </a:t>
            </a:r>
            <a:r>
              <a:rPr lang="en-US" sz="900" b="1" dirty="0">
                <a:solidFill>
                  <a:srgbClr val="0C2870"/>
                </a:solidFill>
                <a:latin typeface="Arial" charset="0"/>
                <a:cs typeface="Times New Roman" pitchFamily="18" charset="0"/>
              </a:rPr>
              <a:t>by inputting “=IRR(” in the relevant cell</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Select your cash flow from year 0 to year 5</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Close the bracket “)”</a:t>
            </a:r>
          </a:p>
        </p:txBody>
      </p:sp>
    </p:spTree>
    <p:extLst>
      <p:ext uri="{BB962C8B-B14F-4D97-AF65-F5344CB8AC3E}">
        <p14:creationId xmlns:p14="http://schemas.microsoft.com/office/powerpoint/2010/main" val="8436607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95558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Return on Investment (ROI)</a:t>
            </a:r>
            <a:br>
              <a:rPr lang="en-US" sz="2400" kern="0" dirty="0"/>
            </a:br>
            <a:r>
              <a:rPr lang="en-US" b="0" kern="0" dirty="0"/>
              <a:t>Description</a:t>
            </a:r>
          </a:p>
        </p:txBody>
      </p:sp>
      <p:sp>
        <p:nvSpPr>
          <p:cNvPr id="9" name="Slide Number Placeholder 7">
            <a:extLst>
              <a:ext uri="{FF2B5EF4-FFF2-40B4-BE49-F238E27FC236}">
                <a16:creationId xmlns:a16="http://schemas.microsoft.com/office/drawing/2014/main" id="{F899EC29-8C8D-4687-8ABE-0B44DB908331}"/>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1</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501"/>
          <a:stretch/>
        </p:blipFill>
        <p:spPr>
          <a:xfrm>
            <a:off x="1370057" y="2753034"/>
            <a:ext cx="9451886" cy="3667431"/>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9F0433C9-D049-44E0-8A1F-973AC76F7C7C}"/>
              </a:ext>
            </a:extLst>
          </p:cNvPr>
          <p:cNvSpPr/>
          <p:nvPr/>
        </p:nvSpPr>
        <p:spPr bwMode="auto">
          <a:xfrm>
            <a:off x="1255179" y="619128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842"/>
              <a:gd name="adj2" fmla="val 3908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ROI is simply calculated with the formula below:</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How much money you’ve made divided by how much money you’ve spent</a:t>
            </a:r>
          </a:p>
        </p:txBody>
      </p:sp>
    </p:spTree>
    <p:extLst>
      <p:ext uri="{BB962C8B-B14F-4D97-AF65-F5344CB8AC3E}">
        <p14:creationId xmlns:p14="http://schemas.microsoft.com/office/powerpoint/2010/main" val="22639374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23</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94047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kern="0" dirty="0"/>
              <a:t>Overview</a:t>
            </a:r>
            <a:br>
              <a:rPr lang="en-US" kern="0" dirty="0"/>
            </a:br>
            <a:r>
              <a:rPr lang="en-US" sz="2200" b="0" kern="0" dirty="0"/>
              <a:t>The Excel document “Financial Model” includes 1 inputs sheet, 5 calculation sheets and 2 Outputs sheets</a:t>
            </a:r>
            <a:endParaRPr lang="en-US" b="0" kern="0" dirty="0"/>
          </a:p>
        </p:txBody>
      </p:sp>
      <p:sp>
        <p:nvSpPr>
          <p:cNvPr id="43" name="Slide Number Placeholder 7">
            <a:extLst>
              <a:ext uri="{FF2B5EF4-FFF2-40B4-BE49-F238E27FC236}">
                <a16:creationId xmlns:a16="http://schemas.microsoft.com/office/drawing/2014/main" id="{8A734EA8-A794-497B-AA35-A4546E69C48A}"/>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grpSp>
        <p:nvGrpSpPr>
          <p:cNvPr id="44" name="Group 43">
            <a:extLst>
              <a:ext uri="{FF2B5EF4-FFF2-40B4-BE49-F238E27FC236}">
                <a16:creationId xmlns:a16="http://schemas.microsoft.com/office/drawing/2014/main" id="{C20A10F2-69DB-A18C-FEE7-B617CB7253EF}"/>
              </a:ext>
            </a:extLst>
          </p:cNvPr>
          <p:cNvGrpSpPr/>
          <p:nvPr/>
        </p:nvGrpSpPr>
        <p:grpSpPr>
          <a:xfrm>
            <a:off x="597585" y="2300392"/>
            <a:ext cx="11023121" cy="3313599"/>
            <a:chOff x="0" y="1"/>
            <a:chExt cx="9701903" cy="2916435"/>
          </a:xfrm>
        </p:grpSpPr>
        <p:grpSp>
          <p:nvGrpSpPr>
            <p:cNvPr id="45" name="Group 44">
              <a:extLst>
                <a:ext uri="{FF2B5EF4-FFF2-40B4-BE49-F238E27FC236}">
                  <a16:creationId xmlns:a16="http://schemas.microsoft.com/office/drawing/2014/main" id="{B9355DFE-834D-3999-C6B4-F38B029C687A}"/>
                </a:ext>
              </a:extLst>
            </p:cNvPr>
            <p:cNvGrpSpPr/>
            <p:nvPr/>
          </p:nvGrpSpPr>
          <p:grpSpPr>
            <a:xfrm>
              <a:off x="0" y="1"/>
              <a:ext cx="9701903" cy="2916435"/>
              <a:chOff x="0" y="0"/>
              <a:chExt cx="14571184" cy="4447623"/>
            </a:xfrm>
          </p:grpSpPr>
          <p:sp>
            <p:nvSpPr>
              <p:cNvPr id="51" name="Rectangle 50">
                <a:extLst>
                  <a:ext uri="{FF2B5EF4-FFF2-40B4-BE49-F238E27FC236}">
                    <a16:creationId xmlns:a16="http://schemas.microsoft.com/office/drawing/2014/main" id="{D1E7C254-27E8-4C80-BD23-5AA385ED0BB0}"/>
                  </a:ext>
                </a:extLst>
              </p:cNvPr>
              <p:cNvSpPr/>
              <p:nvPr/>
            </p:nvSpPr>
            <p:spPr>
              <a:xfrm>
                <a:off x="4119983" y="513745"/>
                <a:ext cx="3486876" cy="3933878"/>
              </a:xfrm>
              <a:prstGeom prst="rect">
                <a:avLst/>
              </a:prstGeom>
              <a:noFill/>
              <a:ln w="25400" cap="flat" cmpd="sng" algn="ctr">
                <a:solidFill>
                  <a:schemeClr val="accent1"/>
                </a:solidFill>
                <a:prstDash val="dash"/>
              </a:ln>
              <a:effectLst/>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AU" sz="1400" b="1" kern="0">
                  <a:solidFill>
                    <a:schemeClr val="tx2"/>
                  </a:solidFill>
                  <a:latin typeface="Arial" pitchFamily="34" charset="0"/>
                  <a:cs typeface="Arial" pitchFamily="34" charset="0"/>
                </a:endParaRPr>
              </a:p>
            </p:txBody>
          </p:sp>
          <p:sp>
            <p:nvSpPr>
              <p:cNvPr id="52" name="TextBox 9">
                <a:extLst>
                  <a:ext uri="{FF2B5EF4-FFF2-40B4-BE49-F238E27FC236}">
                    <a16:creationId xmlns:a16="http://schemas.microsoft.com/office/drawing/2014/main" id="{667C03EA-83CA-40BE-AFCB-091FF55BE510}"/>
                  </a:ext>
                </a:extLst>
              </p:cNvPr>
              <p:cNvSpPr txBox="1"/>
              <p:nvPr/>
            </p:nvSpPr>
            <p:spPr>
              <a:xfrm>
                <a:off x="4393762" y="9684"/>
                <a:ext cx="2939316" cy="38820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100" b="1" kern="0">
                    <a:solidFill>
                      <a:schemeClr val="tx2"/>
                    </a:solidFill>
                    <a:latin typeface="Arial" pitchFamily="34" charset="0"/>
                    <a:cs typeface="Arial" pitchFamily="34" charset="0"/>
                  </a:rPr>
                  <a:t>Calculation sheets</a:t>
                </a:r>
              </a:p>
            </p:txBody>
          </p:sp>
          <p:sp>
            <p:nvSpPr>
              <p:cNvPr id="53" name="TextBox 14">
                <a:extLst>
                  <a:ext uri="{FF2B5EF4-FFF2-40B4-BE49-F238E27FC236}">
                    <a16:creationId xmlns:a16="http://schemas.microsoft.com/office/drawing/2014/main" id="{07CBBD6D-7032-4404-9B10-7EA5A7DC582E}"/>
                  </a:ext>
                </a:extLst>
              </p:cNvPr>
              <p:cNvSpPr txBox="1"/>
              <p:nvPr/>
            </p:nvSpPr>
            <p:spPr>
              <a:xfrm>
                <a:off x="9199385" y="38736"/>
                <a:ext cx="4801411" cy="38820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100" b="1" kern="0">
                    <a:solidFill>
                      <a:schemeClr val="tx2"/>
                    </a:solidFill>
                    <a:latin typeface="Arial" pitchFamily="34" charset="0"/>
                    <a:cs typeface="Arial" pitchFamily="34" charset="0"/>
                  </a:rPr>
                  <a:t>Outputs sheets </a:t>
                </a:r>
              </a:p>
            </p:txBody>
          </p:sp>
          <p:sp>
            <p:nvSpPr>
              <p:cNvPr id="54" name="Rectangle 53">
                <a:extLst>
                  <a:ext uri="{FF2B5EF4-FFF2-40B4-BE49-F238E27FC236}">
                    <a16:creationId xmlns:a16="http://schemas.microsoft.com/office/drawing/2014/main" id="{5714E95A-480E-44A6-9C6B-8E577094B451}"/>
                  </a:ext>
                </a:extLst>
              </p:cNvPr>
              <p:cNvSpPr/>
              <p:nvPr/>
            </p:nvSpPr>
            <p:spPr>
              <a:xfrm>
                <a:off x="4677949" y="698546"/>
                <a:ext cx="2381352" cy="584775"/>
              </a:xfrm>
              <a:prstGeom prst="rect">
                <a:avLst/>
              </a:prstGeom>
              <a:solidFill>
                <a:sysClr val="window" lastClr="FFFFFF"/>
              </a:solidFill>
              <a:ln w="19050" cap="flat" cmpd="sng" algn="ctr">
                <a:solidFill>
                  <a:schemeClr val="accent1"/>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AU" sz="1100" kern="0">
                    <a:solidFill>
                      <a:schemeClr val="tx2"/>
                    </a:solidFill>
                    <a:latin typeface="Arial" pitchFamily="34" charset="0"/>
                    <a:cs typeface="Arial" pitchFamily="34" charset="0"/>
                  </a:rPr>
                  <a:t>Project Initial Investment</a:t>
                </a:r>
              </a:p>
            </p:txBody>
          </p:sp>
          <p:sp>
            <p:nvSpPr>
              <p:cNvPr id="55" name="Rectangle 54">
                <a:extLst>
                  <a:ext uri="{FF2B5EF4-FFF2-40B4-BE49-F238E27FC236}">
                    <a16:creationId xmlns:a16="http://schemas.microsoft.com/office/drawing/2014/main" id="{31B2B469-6C77-4E8E-913F-4D6148A073AE}"/>
                  </a:ext>
                </a:extLst>
              </p:cNvPr>
              <p:cNvSpPr/>
              <p:nvPr/>
            </p:nvSpPr>
            <p:spPr>
              <a:xfrm>
                <a:off x="4677949" y="1455776"/>
                <a:ext cx="2381352" cy="584775"/>
              </a:xfrm>
              <a:prstGeom prst="rect">
                <a:avLst/>
              </a:prstGeom>
              <a:solidFill>
                <a:sysClr val="window" lastClr="FFFFFF"/>
              </a:solidFill>
              <a:ln w="19050" cap="flat" cmpd="sng" algn="ctr">
                <a:solidFill>
                  <a:schemeClr val="accent1"/>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AU" sz="1100" kern="0">
                    <a:solidFill>
                      <a:schemeClr val="tx2"/>
                    </a:solidFill>
                    <a:latin typeface="Arial" pitchFamily="34" charset="0"/>
                    <a:cs typeface="Arial" pitchFamily="34" charset="0"/>
                  </a:rPr>
                  <a:t>Project Costs</a:t>
                </a:r>
              </a:p>
            </p:txBody>
          </p:sp>
          <p:sp>
            <p:nvSpPr>
              <p:cNvPr id="56" name="Rectangle 55">
                <a:extLst>
                  <a:ext uri="{FF2B5EF4-FFF2-40B4-BE49-F238E27FC236}">
                    <a16:creationId xmlns:a16="http://schemas.microsoft.com/office/drawing/2014/main" id="{D547C259-6BD4-4048-86EB-353F61DD9806}"/>
                  </a:ext>
                </a:extLst>
              </p:cNvPr>
              <p:cNvSpPr/>
              <p:nvPr/>
            </p:nvSpPr>
            <p:spPr>
              <a:xfrm>
                <a:off x="4677949" y="2213006"/>
                <a:ext cx="2381352" cy="584775"/>
              </a:xfrm>
              <a:prstGeom prst="rect">
                <a:avLst/>
              </a:prstGeom>
              <a:solidFill>
                <a:sysClr val="window" lastClr="FFFFFF"/>
              </a:solidFill>
              <a:ln w="19050" cap="flat" cmpd="sng" algn="ctr">
                <a:solidFill>
                  <a:schemeClr val="accent1"/>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AU" sz="1100" kern="0">
                    <a:solidFill>
                      <a:schemeClr val="tx2"/>
                    </a:solidFill>
                    <a:latin typeface="Arial" pitchFamily="34" charset="0"/>
                    <a:cs typeface="Arial" pitchFamily="34" charset="0"/>
                  </a:rPr>
                  <a:t>Additional Revenue Generated</a:t>
                </a:r>
              </a:p>
            </p:txBody>
          </p:sp>
          <p:sp>
            <p:nvSpPr>
              <p:cNvPr id="57" name="Rectangle 56">
                <a:extLst>
                  <a:ext uri="{FF2B5EF4-FFF2-40B4-BE49-F238E27FC236}">
                    <a16:creationId xmlns:a16="http://schemas.microsoft.com/office/drawing/2014/main" id="{C1A96B1E-19C8-4270-8560-97DF46F2D829}"/>
                  </a:ext>
                </a:extLst>
              </p:cNvPr>
              <p:cNvSpPr/>
              <p:nvPr/>
            </p:nvSpPr>
            <p:spPr>
              <a:xfrm>
                <a:off x="4677949" y="2970236"/>
                <a:ext cx="2381352" cy="584775"/>
              </a:xfrm>
              <a:prstGeom prst="rect">
                <a:avLst/>
              </a:prstGeom>
              <a:solidFill>
                <a:sysClr val="window" lastClr="FFFFFF"/>
              </a:solidFill>
              <a:ln w="19050" cap="flat" cmpd="sng" algn="ctr">
                <a:solidFill>
                  <a:schemeClr val="accent1"/>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AU" sz="1100" kern="0">
                    <a:solidFill>
                      <a:schemeClr val="tx2"/>
                    </a:solidFill>
                    <a:latin typeface="Arial" pitchFamily="34" charset="0"/>
                    <a:cs typeface="Arial" pitchFamily="34" charset="0"/>
                  </a:rPr>
                  <a:t>Cost Savings</a:t>
                </a:r>
              </a:p>
            </p:txBody>
          </p:sp>
          <p:sp>
            <p:nvSpPr>
              <p:cNvPr id="58" name="Rectangle 57">
                <a:extLst>
                  <a:ext uri="{FF2B5EF4-FFF2-40B4-BE49-F238E27FC236}">
                    <a16:creationId xmlns:a16="http://schemas.microsoft.com/office/drawing/2014/main" id="{B8523912-61A5-42E0-A4C6-5F91CF46C323}"/>
                  </a:ext>
                </a:extLst>
              </p:cNvPr>
              <p:cNvSpPr/>
              <p:nvPr/>
            </p:nvSpPr>
            <p:spPr>
              <a:xfrm>
                <a:off x="4677949" y="3727466"/>
                <a:ext cx="2381352" cy="584775"/>
              </a:xfrm>
              <a:prstGeom prst="rect">
                <a:avLst/>
              </a:prstGeom>
              <a:solidFill>
                <a:sysClr val="window" lastClr="FFFFFF"/>
              </a:solidFill>
              <a:ln w="19050" cap="flat" cmpd="sng" algn="ctr">
                <a:solidFill>
                  <a:schemeClr val="accent1"/>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AU" sz="1100" kern="0">
                    <a:solidFill>
                      <a:schemeClr val="tx2"/>
                    </a:solidFill>
                    <a:latin typeface="Arial" pitchFamily="34" charset="0"/>
                    <a:cs typeface="Arial" pitchFamily="34" charset="0"/>
                  </a:rPr>
                  <a:t>WACC</a:t>
                </a:r>
              </a:p>
            </p:txBody>
          </p:sp>
          <p:sp>
            <p:nvSpPr>
              <p:cNvPr id="59" name="Rectangle 58">
                <a:extLst>
                  <a:ext uri="{FF2B5EF4-FFF2-40B4-BE49-F238E27FC236}">
                    <a16:creationId xmlns:a16="http://schemas.microsoft.com/office/drawing/2014/main" id="{E2B7B902-0955-465D-ADB1-78D68C4C6E84}"/>
                  </a:ext>
                </a:extLst>
              </p:cNvPr>
              <p:cNvSpPr/>
              <p:nvPr/>
            </p:nvSpPr>
            <p:spPr>
              <a:xfrm>
                <a:off x="8765808" y="513745"/>
                <a:ext cx="5805376" cy="3933878"/>
              </a:xfrm>
              <a:prstGeom prst="rect">
                <a:avLst/>
              </a:prstGeom>
              <a:noFill/>
              <a:ln w="25400" cap="flat" cmpd="sng" algn="ctr">
                <a:solidFill>
                  <a:srgbClr val="00B050"/>
                </a:solidFill>
                <a:prstDash val="dash"/>
              </a:ln>
              <a:effectLst/>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AU" sz="1400" b="1" kern="0">
                  <a:solidFill>
                    <a:schemeClr val="tx2"/>
                  </a:solidFill>
                  <a:latin typeface="Arial" pitchFamily="34" charset="0"/>
                  <a:cs typeface="Arial" pitchFamily="34" charset="0"/>
                </a:endParaRPr>
              </a:p>
            </p:txBody>
          </p:sp>
          <p:sp>
            <p:nvSpPr>
              <p:cNvPr id="60" name="Rectangle 59">
                <a:extLst>
                  <a:ext uri="{FF2B5EF4-FFF2-40B4-BE49-F238E27FC236}">
                    <a16:creationId xmlns:a16="http://schemas.microsoft.com/office/drawing/2014/main" id="{1C714F5A-006A-4CFF-B366-1FB2A5B2B3A8}"/>
                  </a:ext>
                </a:extLst>
              </p:cNvPr>
              <p:cNvSpPr/>
              <p:nvPr/>
            </p:nvSpPr>
            <p:spPr>
              <a:xfrm>
                <a:off x="9024641" y="2222191"/>
                <a:ext cx="2381352" cy="584775"/>
              </a:xfrm>
              <a:prstGeom prst="rect">
                <a:avLst/>
              </a:prstGeom>
              <a:solidFill>
                <a:sysClr val="window" lastClr="FFFFFF"/>
              </a:solidFill>
              <a:ln w="19050" cap="flat" cmpd="sng" algn="ctr">
                <a:solidFill>
                  <a:srgbClr val="00B050"/>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AU" sz="1100" kern="0">
                    <a:solidFill>
                      <a:schemeClr val="tx2"/>
                    </a:solidFill>
                    <a:latin typeface="Arial" pitchFamily="34" charset="0"/>
                    <a:cs typeface="Arial" pitchFamily="34" charset="0"/>
                  </a:rPr>
                  <a:t>Project Financials Summary</a:t>
                </a:r>
              </a:p>
            </p:txBody>
          </p:sp>
          <p:sp>
            <p:nvSpPr>
              <p:cNvPr id="61" name="Rectangle 60">
                <a:extLst>
                  <a:ext uri="{FF2B5EF4-FFF2-40B4-BE49-F238E27FC236}">
                    <a16:creationId xmlns:a16="http://schemas.microsoft.com/office/drawing/2014/main" id="{249B6312-9B17-4728-855A-91A64BDE2A1C}"/>
                  </a:ext>
                </a:extLst>
              </p:cNvPr>
              <p:cNvSpPr/>
              <p:nvPr/>
            </p:nvSpPr>
            <p:spPr>
              <a:xfrm>
                <a:off x="11918343" y="2223638"/>
                <a:ext cx="2381352" cy="584775"/>
              </a:xfrm>
              <a:prstGeom prst="rect">
                <a:avLst/>
              </a:prstGeom>
              <a:solidFill>
                <a:sysClr val="window" lastClr="FFFFFF"/>
              </a:solidFill>
              <a:ln w="19050" cap="flat" cmpd="sng" algn="ctr">
                <a:solidFill>
                  <a:srgbClr val="00B050"/>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AU" sz="1100" kern="0">
                    <a:solidFill>
                      <a:schemeClr val="tx2"/>
                    </a:solidFill>
                    <a:latin typeface="Arial" pitchFamily="34" charset="0"/>
                    <a:cs typeface="Arial" pitchFamily="34" charset="0"/>
                  </a:rPr>
                  <a:t>Project Cash Flow Chart</a:t>
                </a:r>
              </a:p>
            </p:txBody>
          </p:sp>
          <p:cxnSp>
            <p:nvCxnSpPr>
              <p:cNvPr id="62" name="Connector: Elbow 61">
                <a:extLst>
                  <a:ext uri="{FF2B5EF4-FFF2-40B4-BE49-F238E27FC236}">
                    <a16:creationId xmlns:a16="http://schemas.microsoft.com/office/drawing/2014/main" id="{2CB1B0CA-5B7F-A308-9762-B655D3C167D9}"/>
                  </a:ext>
                </a:extLst>
              </p:cNvPr>
              <p:cNvCxnSpPr>
                <a:stCxn id="54" idx="3"/>
                <a:endCxn id="60" idx="1"/>
              </p:cNvCxnSpPr>
              <p:nvPr/>
            </p:nvCxnSpPr>
            <p:spPr>
              <a:xfrm>
                <a:off x="7059301" y="990934"/>
                <a:ext cx="1965340" cy="152364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C7BAD7C9-3FA0-7628-23B0-D9EE4338D0AF}"/>
                  </a:ext>
                </a:extLst>
              </p:cNvPr>
              <p:cNvCxnSpPr>
                <a:stCxn id="55" idx="3"/>
                <a:endCxn id="60" idx="1"/>
              </p:cNvCxnSpPr>
              <p:nvPr/>
            </p:nvCxnSpPr>
            <p:spPr>
              <a:xfrm>
                <a:off x="7059301" y="1748164"/>
                <a:ext cx="1965340" cy="76641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7D59F007-DDA2-4993-BD81-D32F4E7B5F8F}"/>
                  </a:ext>
                </a:extLst>
              </p:cNvPr>
              <p:cNvCxnSpPr>
                <a:stCxn id="56" idx="3"/>
                <a:endCxn id="60" idx="1"/>
              </p:cNvCxnSpPr>
              <p:nvPr/>
            </p:nvCxnSpPr>
            <p:spPr>
              <a:xfrm>
                <a:off x="7059301" y="2505394"/>
                <a:ext cx="1965340" cy="918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666041EA-8A55-442F-7EB3-3EDE3793D847}"/>
                  </a:ext>
                </a:extLst>
              </p:cNvPr>
              <p:cNvCxnSpPr>
                <a:stCxn id="57" idx="3"/>
                <a:endCxn id="60" idx="1"/>
              </p:cNvCxnSpPr>
              <p:nvPr/>
            </p:nvCxnSpPr>
            <p:spPr>
              <a:xfrm flipV="1">
                <a:off x="7059301" y="2514579"/>
                <a:ext cx="1965340" cy="74804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293AE5F5-F765-1AF7-69A4-F6E7B550A3C8}"/>
                  </a:ext>
                </a:extLst>
              </p:cNvPr>
              <p:cNvCxnSpPr>
                <a:stCxn id="58" idx="3"/>
                <a:endCxn id="60" idx="1"/>
              </p:cNvCxnSpPr>
              <p:nvPr/>
            </p:nvCxnSpPr>
            <p:spPr>
              <a:xfrm flipV="1">
                <a:off x="7059301" y="2514579"/>
                <a:ext cx="1965340" cy="150527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D2B1588-AA7D-6F3A-F8E3-CDDFE84790D8}"/>
                  </a:ext>
                </a:extLst>
              </p:cNvPr>
              <p:cNvCxnSpPr>
                <a:stCxn id="60" idx="3"/>
                <a:endCxn id="61" idx="1"/>
              </p:cNvCxnSpPr>
              <p:nvPr/>
            </p:nvCxnSpPr>
            <p:spPr>
              <a:xfrm>
                <a:off x="11405993" y="2514579"/>
                <a:ext cx="512350" cy="14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548C87BF-047B-64E1-DD8B-8813BA4737EC}"/>
                  </a:ext>
                </a:extLst>
              </p:cNvPr>
              <p:cNvSpPr/>
              <p:nvPr/>
            </p:nvSpPr>
            <p:spPr>
              <a:xfrm>
                <a:off x="0" y="513745"/>
                <a:ext cx="3486877" cy="3933878"/>
              </a:xfrm>
              <a:prstGeom prst="rect">
                <a:avLst/>
              </a:prstGeom>
              <a:noFill/>
              <a:ln w="25400" cap="flat" cmpd="sng" algn="ctr">
                <a:solidFill>
                  <a:schemeClr val="accent5"/>
                </a:solidFill>
                <a:prstDash val="dash"/>
              </a:ln>
              <a:effectLst/>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AU" sz="1400" b="1" kern="0">
                  <a:solidFill>
                    <a:schemeClr val="tx2"/>
                  </a:solidFill>
                  <a:latin typeface="Arial" pitchFamily="34" charset="0"/>
                  <a:cs typeface="Arial" pitchFamily="34" charset="0"/>
                </a:endParaRPr>
              </a:p>
            </p:txBody>
          </p:sp>
          <p:sp>
            <p:nvSpPr>
              <p:cNvPr id="69" name="TextBox 9">
                <a:extLst>
                  <a:ext uri="{FF2B5EF4-FFF2-40B4-BE49-F238E27FC236}">
                    <a16:creationId xmlns:a16="http://schemas.microsoft.com/office/drawing/2014/main" id="{8886B027-04C0-BA6F-6DBC-524D9512CC8C}"/>
                  </a:ext>
                </a:extLst>
              </p:cNvPr>
              <p:cNvSpPr txBox="1"/>
              <p:nvPr/>
            </p:nvSpPr>
            <p:spPr>
              <a:xfrm>
                <a:off x="273779" y="0"/>
                <a:ext cx="2939316" cy="38820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100" b="1" kern="0">
                    <a:solidFill>
                      <a:schemeClr val="tx2"/>
                    </a:solidFill>
                    <a:latin typeface="Arial" pitchFamily="34" charset="0"/>
                    <a:cs typeface="Arial" pitchFamily="34" charset="0"/>
                  </a:rPr>
                  <a:t>Inputs</a:t>
                </a:r>
                <a:r>
                  <a:rPr lang="en-AU" sz="1100" b="1" kern="0" baseline="0">
                    <a:solidFill>
                      <a:schemeClr val="tx2"/>
                    </a:solidFill>
                    <a:latin typeface="Arial" pitchFamily="34" charset="0"/>
                    <a:cs typeface="Arial" pitchFamily="34" charset="0"/>
                  </a:rPr>
                  <a:t> sheet</a:t>
                </a:r>
                <a:endParaRPr lang="en-AU" sz="1100" b="1" kern="0">
                  <a:solidFill>
                    <a:schemeClr val="tx2"/>
                  </a:solidFill>
                  <a:latin typeface="Arial" pitchFamily="34" charset="0"/>
                  <a:cs typeface="Arial" pitchFamily="34" charset="0"/>
                </a:endParaRPr>
              </a:p>
            </p:txBody>
          </p:sp>
          <p:sp>
            <p:nvSpPr>
              <p:cNvPr id="70" name="Rectangle 69">
                <a:extLst>
                  <a:ext uri="{FF2B5EF4-FFF2-40B4-BE49-F238E27FC236}">
                    <a16:creationId xmlns:a16="http://schemas.microsoft.com/office/drawing/2014/main" id="{1AAD36DC-B9AC-DFF3-7B4F-FE744893E448}"/>
                  </a:ext>
                </a:extLst>
              </p:cNvPr>
              <p:cNvSpPr/>
              <p:nvPr/>
            </p:nvSpPr>
            <p:spPr>
              <a:xfrm>
                <a:off x="557965" y="2222691"/>
                <a:ext cx="2381352" cy="584775"/>
              </a:xfrm>
              <a:prstGeom prst="rect">
                <a:avLst/>
              </a:prstGeom>
              <a:solidFill>
                <a:sysClr val="window" lastClr="FFFFFF"/>
              </a:solidFill>
              <a:ln w="19050" cap="flat" cmpd="sng" algn="ctr">
                <a:solidFill>
                  <a:schemeClr val="accent5"/>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en-AU" sz="1100" kern="0">
                    <a:solidFill>
                      <a:schemeClr val="tx2"/>
                    </a:solidFill>
                    <a:latin typeface="Arial" pitchFamily="34" charset="0"/>
                    <a:cs typeface="Arial" pitchFamily="34" charset="0"/>
                  </a:rPr>
                  <a:t>Assumptions</a:t>
                </a:r>
              </a:p>
            </p:txBody>
          </p:sp>
        </p:grpSp>
        <p:cxnSp>
          <p:nvCxnSpPr>
            <p:cNvPr id="46" name="Connector: Elbow 45">
              <a:extLst>
                <a:ext uri="{FF2B5EF4-FFF2-40B4-BE49-F238E27FC236}">
                  <a16:creationId xmlns:a16="http://schemas.microsoft.com/office/drawing/2014/main" id="{0A6E884C-2051-DA18-1494-2B52ABBC37A9}"/>
                </a:ext>
              </a:extLst>
            </p:cNvPr>
            <p:cNvCxnSpPr>
              <a:stCxn id="70" idx="3"/>
              <a:endCxn id="54" idx="1"/>
            </p:cNvCxnSpPr>
            <p:nvPr/>
          </p:nvCxnSpPr>
          <p:spPr>
            <a:xfrm flipV="1">
              <a:off x="1957080" y="649784"/>
              <a:ext cx="1157629" cy="999426"/>
            </a:xfrm>
            <a:prstGeom prst="bentConnector3">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6767BC27-6250-B8A5-F8B4-F8C0C3979091}"/>
                </a:ext>
              </a:extLst>
            </p:cNvPr>
            <p:cNvCxnSpPr>
              <a:stCxn id="70" idx="3"/>
              <a:endCxn id="55" idx="1"/>
            </p:cNvCxnSpPr>
            <p:nvPr/>
          </p:nvCxnSpPr>
          <p:spPr>
            <a:xfrm flipV="1">
              <a:off x="1957080" y="1146322"/>
              <a:ext cx="1157629" cy="502888"/>
            </a:xfrm>
            <a:prstGeom prst="bentConnector3">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D3071B9F-98D5-5F1B-EB4E-619A5E841112}"/>
                </a:ext>
              </a:extLst>
            </p:cNvPr>
            <p:cNvCxnSpPr>
              <a:stCxn id="70" idx="3"/>
              <a:endCxn id="56" idx="1"/>
            </p:cNvCxnSpPr>
            <p:nvPr/>
          </p:nvCxnSpPr>
          <p:spPr>
            <a:xfrm flipV="1">
              <a:off x="1957080" y="1642860"/>
              <a:ext cx="1157629" cy="6350"/>
            </a:xfrm>
            <a:prstGeom prst="bentConnector3">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5E05ACEB-C0A6-4D68-3132-D91FD34D4636}"/>
                </a:ext>
              </a:extLst>
            </p:cNvPr>
            <p:cNvCxnSpPr>
              <a:stCxn id="70" idx="3"/>
              <a:endCxn id="57" idx="1"/>
            </p:cNvCxnSpPr>
            <p:nvPr/>
          </p:nvCxnSpPr>
          <p:spPr>
            <a:xfrm>
              <a:off x="1957080" y="1649210"/>
              <a:ext cx="1157629" cy="490187"/>
            </a:xfrm>
            <a:prstGeom prst="bentConnector3">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F43AD27D-B17F-1E4E-E1B9-D38938F7C932}"/>
                </a:ext>
              </a:extLst>
            </p:cNvPr>
            <p:cNvCxnSpPr>
              <a:stCxn id="70" idx="3"/>
              <a:endCxn id="58" idx="1"/>
            </p:cNvCxnSpPr>
            <p:nvPr/>
          </p:nvCxnSpPr>
          <p:spPr>
            <a:xfrm>
              <a:off x="1957080" y="1649210"/>
              <a:ext cx="1157629" cy="986725"/>
            </a:xfrm>
            <a:prstGeom prst="bentConnector3">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2188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kern="0" dirty="0"/>
              <a:t>Timeframe</a:t>
            </a:r>
            <a:br>
              <a:rPr lang="en-US" kern="0" dirty="0"/>
            </a:br>
            <a:r>
              <a:rPr lang="en-US" b="0" kern="0" dirty="0"/>
              <a:t>Description</a:t>
            </a:r>
          </a:p>
        </p:txBody>
      </p:sp>
      <p:sp>
        <p:nvSpPr>
          <p:cNvPr id="43" name="Slide Number Placeholder 7">
            <a:extLst>
              <a:ext uri="{FF2B5EF4-FFF2-40B4-BE49-F238E27FC236}">
                <a16:creationId xmlns:a16="http://schemas.microsoft.com/office/drawing/2014/main" id="{8A734EA8-A794-497B-AA35-A4546E69C48A}"/>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024561"/>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8034"/>
              <a:gd name="adj2" fmla="val 10021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most common timeframe to estimate the financial performance of a project is 5 years. Year 0 is the present day. Year 1 represents the first 12 months. Year 2 represents the period between 12 months and 24 months, etc. </a:t>
            </a:r>
          </a:p>
        </p:txBody>
      </p:sp>
    </p:spTree>
    <p:extLst>
      <p:ext uri="{BB962C8B-B14F-4D97-AF65-F5344CB8AC3E}">
        <p14:creationId xmlns:p14="http://schemas.microsoft.com/office/powerpoint/2010/main" val="2207873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817833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Project Initial Investment</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19FFFDF3-27AA-4642-858A-EA1F6C35BE73}"/>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258810"/>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7098"/>
              <a:gd name="adj2" fmla="val 11911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roject Initial Investment represents the amount that you invest at the beginning of a project. It is usually a one-off cost that you need to </a:t>
            </a:r>
            <a:r>
              <a:rPr lang="en-US" sz="1050" b="1">
                <a:solidFill>
                  <a:srgbClr val="0C2870"/>
                </a:solidFill>
                <a:latin typeface="Arial" charset="0"/>
                <a:cs typeface="Times New Roman" pitchFamily="18" charset="0"/>
              </a:rPr>
              <a:t>input in Year </a:t>
            </a:r>
            <a:r>
              <a:rPr lang="en-US" sz="1050" b="1" dirty="0">
                <a:solidFill>
                  <a:srgbClr val="0C2870"/>
                </a:solidFill>
                <a:latin typeface="Arial" charset="0"/>
                <a:cs typeface="Times New Roman" pitchFamily="18" charset="0"/>
              </a:rPr>
              <a:t>0.</a:t>
            </a:r>
          </a:p>
        </p:txBody>
      </p:sp>
    </p:spTree>
    <p:extLst>
      <p:ext uri="{BB962C8B-B14F-4D97-AF65-F5344CB8AC3E}">
        <p14:creationId xmlns:p14="http://schemas.microsoft.com/office/powerpoint/2010/main" val="755765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094012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Project Costs</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8CAEEBDE-DA88-4A3B-9AA2-22E5F2EDB4F3}"/>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478424"/>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8347"/>
              <a:gd name="adj2" fmla="val 14735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roject Costs represent the ongoing amount of money that you will be spending each year. It includes the </a:t>
            </a:r>
            <a:r>
              <a:rPr lang="en-US" sz="1050" b="1" dirty="0" err="1">
                <a:solidFill>
                  <a:srgbClr val="0C2870"/>
                </a:solidFill>
                <a:latin typeface="Arial" charset="0"/>
                <a:cs typeface="Times New Roman" pitchFamily="18" charset="0"/>
              </a:rPr>
              <a:t>labour</a:t>
            </a:r>
            <a:r>
              <a:rPr lang="en-US" sz="1050" b="1" dirty="0">
                <a:solidFill>
                  <a:srgbClr val="0C2870"/>
                </a:solidFill>
                <a:latin typeface="Arial" charset="0"/>
                <a:cs typeface="Times New Roman" pitchFamily="18" charset="0"/>
              </a:rPr>
              <a:t> cost required to implement the project.</a:t>
            </a:r>
          </a:p>
        </p:txBody>
      </p:sp>
    </p:spTree>
    <p:extLst>
      <p:ext uri="{BB962C8B-B14F-4D97-AF65-F5344CB8AC3E}">
        <p14:creationId xmlns:p14="http://schemas.microsoft.com/office/powerpoint/2010/main" val="1654661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095382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Additional Revenue Generated </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1ED887BC-CFE1-4CB6-AB06-422FC3C1B14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683962"/>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29400"/>
              <a:gd name="adj2" fmla="val 16760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Additional Revenue Generated represents the incremental revenue that the company will make due to the project. For example, you may estimate that the creation of a new product feature will increase your sales by 4%.</a:t>
            </a:r>
          </a:p>
        </p:txBody>
      </p:sp>
    </p:spTree>
    <p:extLst>
      <p:ext uri="{BB962C8B-B14F-4D97-AF65-F5344CB8AC3E}">
        <p14:creationId xmlns:p14="http://schemas.microsoft.com/office/powerpoint/2010/main" val="1833221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372055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400" kern="0" dirty="0"/>
              <a:t>Costs Savings</a:t>
            </a:r>
            <a:br>
              <a:rPr lang="en-US" sz="2400" kern="0" dirty="0"/>
            </a:br>
            <a:r>
              <a:rPr lang="en-US" b="0" kern="0" dirty="0"/>
              <a:t>Description</a:t>
            </a:r>
          </a:p>
        </p:txBody>
      </p:sp>
      <p:sp>
        <p:nvSpPr>
          <p:cNvPr id="8" name="Slide Number Placeholder 7">
            <a:extLst>
              <a:ext uri="{FF2B5EF4-FFF2-40B4-BE49-F238E27FC236}">
                <a16:creationId xmlns:a16="http://schemas.microsoft.com/office/drawing/2014/main" id="{C22DBBD7-2BFC-4044-BE16-7E25EB9A8743}"/>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3890439"/>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5537"/>
              <a:gd name="adj2" fmla="val 18657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ost Savings represents the cost that the company will save due to the project. For example, if you replace an expensive </a:t>
            </a:r>
            <a:r>
              <a:rPr lang="en-US" sz="1050" b="1">
                <a:solidFill>
                  <a:srgbClr val="0C2870"/>
                </a:solidFill>
                <a:latin typeface="Arial" charset="0"/>
                <a:cs typeface="Times New Roman" pitchFamily="18" charset="0"/>
              </a:rPr>
              <a:t>material with a </a:t>
            </a:r>
            <a:r>
              <a:rPr lang="en-US" sz="1050" b="1" dirty="0">
                <a:solidFill>
                  <a:srgbClr val="0C2870"/>
                </a:solidFill>
                <a:latin typeface="Arial" charset="0"/>
                <a:cs typeface="Times New Roman" pitchFamily="18" charset="0"/>
              </a:rPr>
              <a:t>cheaper material to manufacture your products, you may decrease the cost of your products by 10%.</a:t>
            </a:r>
          </a:p>
        </p:txBody>
      </p:sp>
    </p:spTree>
    <p:extLst>
      <p:ext uri="{BB962C8B-B14F-4D97-AF65-F5344CB8AC3E}">
        <p14:creationId xmlns:p14="http://schemas.microsoft.com/office/powerpoint/2010/main" val="2643012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163742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kern="0" dirty="0"/>
              <a:t>Cash Flow</a:t>
            </a:r>
            <a:br>
              <a:rPr lang="en-US" kern="0" dirty="0"/>
            </a:br>
            <a:r>
              <a:rPr lang="en-US" b="0" kern="0" dirty="0"/>
              <a:t>Description</a:t>
            </a:r>
          </a:p>
        </p:txBody>
      </p:sp>
      <p:sp>
        <p:nvSpPr>
          <p:cNvPr id="8" name="Slide Number Placeholder 7">
            <a:extLst>
              <a:ext uri="{FF2B5EF4-FFF2-40B4-BE49-F238E27FC236}">
                <a16:creationId xmlns:a16="http://schemas.microsoft.com/office/drawing/2014/main" id="{0140AA94-E112-4CD3-BCEF-F9434E88E42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9</a:t>
            </a:fld>
            <a:endParaRPr lang="en-US" sz="1000" dirty="0">
              <a:solidFill>
                <a:srgbClr val="ADAFBB"/>
              </a:solidFill>
            </a:endParaRPr>
          </a:p>
        </p:txBody>
      </p:sp>
      <p:pic>
        <p:nvPicPr>
          <p:cNvPr id="40" name="Picture 39">
            <a:extLst>
              <a:ext uri="{FF2B5EF4-FFF2-40B4-BE49-F238E27FC236}">
                <a16:creationId xmlns:a16="http://schemas.microsoft.com/office/drawing/2014/main" id="{27542136-C3AF-40E2-B294-B19A0A391709}"/>
              </a:ext>
            </a:extLst>
          </p:cNvPr>
          <p:cNvPicPr>
            <a:picLocks noChangeAspect="1"/>
          </p:cNvPicPr>
          <p:nvPr/>
        </p:nvPicPr>
        <p:blipFill rotWithShape="1">
          <a:blip r:embed="rId6"/>
          <a:srcRect b="6103"/>
          <a:stretch/>
        </p:blipFill>
        <p:spPr>
          <a:xfrm>
            <a:off x="1370057" y="2753034"/>
            <a:ext cx="9451886" cy="3460953"/>
          </a:xfrm>
          <a:prstGeom prst="rect">
            <a:avLst/>
          </a:prstGeom>
          <a:ln>
            <a:noFill/>
          </a:ln>
          <a:effectLst>
            <a:outerShdw blurRad="292100" dist="139700" dir="2700000" algn="tl" rotWithShape="0">
              <a:srgbClr val="333333">
                <a:alpha val="65000"/>
              </a:srgbClr>
            </a:outerShdw>
          </a:effectLst>
        </p:spPr>
      </p:pic>
      <p:sp>
        <p:nvSpPr>
          <p:cNvPr id="42" name="Rectangle 41">
            <a:extLst>
              <a:ext uri="{FF2B5EF4-FFF2-40B4-BE49-F238E27FC236}">
                <a16:creationId xmlns:a16="http://schemas.microsoft.com/office/drawing/2014/main" id="{30A4BAB1-ECB5-481A-979F-8F991EB2B28D}"/>
              </a:ext>
            </a:extLst>
          </p:cNvPr>
          <p:cNvSpPr/>
          <p:nvPr/>
        </p:nvSpPr>
        <p:spPr bwMode="auto">
          <a:xfrm>
            <a:off x="1255179" y="4097360"/>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8138"/>
              <a:gd name="adj2" fmla="val 20860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ash Flow represents the amount of cash that will be generated due to the project. The formula to calculate your Project Cash Flow i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Additional Revenue Generated + Cost Savings </a:t>
            </a:r>
            <a:r>
              <a:rPr lang="en-US" sz="1050" b="1">
                <a:solidFill>
                  <a:srgbClr val="0C2870"/>
                </a:solidFill>
                <a:latin typeface="Arial" charset="0"/>
                <a:cs typeface="Times New Roman" pitchFamily="18" charset="0"/>
              </a:rPr>
              <a:t>- Project Costs </a:t>
            </a:r>
            <a:r>
              <a:rPr lang="en-US" sz="1050" b="1" dirty="0">
                <a:solidFill>
                  <a:srgbClr val="0C2870"/>
                </a:solidFill>
                <a:latin typeface="Arial" charset="0"/>
                <a:cs typeface="Times New Roman" pitchFamily="18" charset="0"/>
              </a:rPr>
              <a:t>- Project Initial Investment.</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roject Cash Flow will usually be </a:t>
            </a:r>
            <a:r>
              <a:rPr lang="en-US" sz="1050" b="1">
                <a:solidFill>
                  <a:srgbClr val="0C2870"/>
                </a:solidFill>
                <a:latin typeface="Arial" charset="0"/>
                <a:cs typeface="Times New Roman" pitchFamily="18" charset="0"/>
              </a:rPr>
              <a:t>negative </a:t>
            </a:r>
            <a:r>
              <a:rPr lang="en-US" sz="1050" b="1" dirty="0">
                <a:solidFill>
                  <a:srgbClr val="0C2870"/>
                </a:solidFill>
                <a:latin typeface="Arial" charset="0"/>
                <a:cs typeface="Times New Roman" pitchFamily="18" charset="0"/>
              </a:rPr>
              <a:t>in</a:t>
            </a:r>
            <a:r>
              <a:rPr lang="en-US" sz="1050" b="1">
                <a:solidFill>
                  <a:srgbClr val="0C2870"/>
                </a:solidFill>
                <a:latin typeface="Arial" charset="0"/>
                <a:cs typeface="Times New Roman" pitchFamily="18" charset="0"/>
              </a:rPr>
              <a:t> the </a:t>
            </a:r>
            <a:r>
              <a:rPr lang="en-US" sz="1050" b="1" dirty="0">
                <a:solidFill>
                  <a:srgbClr val="0C2870"/>
                </a:solidFill>
                <a:latin typeface="Arial" charset="0"/>
                <a:cs typeface="Times New Roman" pitchFamily="18" charset="0"/>
              </a:rPr>
              <a:t>first years and then become positive. If you estimate that it will never become positive, then you may decide to invest your money in a better </a:t>
            </a:r>
            <a:r>
              <a:rPr lang="en-US" sz="1050" b="1">
                <a:solidFill>
                  <a:srgbClr val="0C2870"/>
                </a:solidFill>
                <a:latin typeface="Arial" charset="0"/>
                <a:cs typeface="Times New Roman" pitchFamily="18" charset="0"/>
              </a:rPr>
              <a:t>performing project</a:t>
            </a:r>
            <a:r>
              <a:rPr lang="en-US" sz="1050" b="1" dirty="0">
                <a:solidFill>
                  <a:srgbClr val="0C2870"/>
                </a:solidFill>
                <a:latin typeface="Arial" charset="0"/>
                <a:cs typeface="Times New Roman" pitchFamily="18" charset="0"/>
              </a:rPr>
              <a:t>.</a:t>
            </a:r>
          </a:p>
        </p:txBody>
      </p:sp>
    </p:spTree>
    <p:extLst>
      <p:ext uri="{BB962C8B-B14F-4D97-AF65-F5344CB8AC3E}">
        <p14:creationId xmlns:p14="http://schemas.microsoft.com/office/powerpoint/2010/main" val="1059551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3.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00</TotalTime>
  <Words>1221</Words>
  <Application>Microsoft Office PowerPoint</Application>
  <PresentationFormat>Widescreen</PresentationFormat>
  <Paragraphs>125</Paragraphs>
  <Slides>23</Slides>
  <Notes>2</Notes>
  <HiddenSlides>0</HiddenSlides>
  <MMClips>0</MMClips>
  <ScaleCrop>false</ScaleCrop>
  <HeadingPairs>
    <vt:vector size="8" baseType="variant">
      <vt:variant>
        <vt:lpstr>Fonts Used</vt:lpstr>
      </vt:variant>
      <vt:variant>
        <vt:i4>3</vt:i4>
      </vt:variant>
      <vt:variant>
        <vt:lpstr>Theme</vt:lpstr>
      </vt:variant>
      <vt:variant>
        <vt:i4>10</vt:i4>
      </vt:variant>
      <vt:variant>
        <vt:lpstr>Embedded OLE Servers</vt:lpstr>
      </vt:variant>
      <vt:variant>
        <vt:i4>1</vt:i4>
      </vt:variant>
      <vt:variant>
        <vt:lpstr>Slide Titles</vt:lpstr>
      </vt:variant>
      <vt:variant>
        <vt:i4>23</vt:i4>
      </vt:variant>
    </vt:vector>
  </HeadingPairs>
  <TitlesOfParts>
    <vt:vector size="37" baseType="lpstr">
      <vt:lpstr>Arial</vt:lpstr>
      <vt:lpstr>Calibri</vt:lpstr>
      <vt:lpstr>Wingdings 3</vt:lpstr>
      <vt:lpstr>Custom Design</vt:lpstr>
      <vt:lpstr>Theme3</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roject Financials Tutorial</vt:lpstr>
      <vt:lpstr>Table of Contents</vt:lpstr>
      <vt:lpstr>Overview The Excel document “Financial Model” includes 1 inputs sheet, 5 calculation sheets and 2 Outputs sheets</vt:lpstr>
      <vt:lpstr>Timeframe Description</vt:lpstr>
      <vt:lpstr>Project Initial Investment Description</vt:lpstr>
      <vt:lpstr>Project Costs Description</vt:lpstr>
      <vt:lpstr>Additional Revenue Generated  Description</vt:lpstr>
      <vt:lpstr>Costs Savings Description</vt:lpstr>
      <vt:lpstr>Cash Flow Description</vt:lpstr>
      <vt:lpstr>Cumulative Cash Flow Description</vt:lpstr>
      <vt:lpstr>Net Present Value Description</vt:lpstr>
      <vt:lpstr>Net Present Value Description</vt:lpstr>
      <vt:lpstr>Discount Rate Description</vt:lpstr>
      <vt:lpstr>Weighted Average Cost of Capital (WACC) Excel document automatically calculating WACC</vt:lpstr>
      <vt:lpstr>Weighted Average Cost of Capital (WACC) Description</vt:lpstr>
      <vt:lpstr>Period Description</vt:lpstr>
      <vt:lpstr>Payback Period Description</vt:lpstr>
      <vt:lpstr>The 3 required rows to calculate payback period Description</vt:lpstr>
      <vt:lpstr>Payback Period Description</vt:lpstr>
      <vt:lpstr>Internal Rate of Return (IRR) Description</vt:lpstr>
      <vt:lpstr>Return on Investment (ROI) Description</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64</cp:revision>
  <dcterms:created xsi:type="dcterms:W3CDTF">2020-07-08T04:44:55Z</dcterms:created>
  <dcterms:modified xsi:type="dcterms:W3CDTF">2023-01-30T05:30:5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